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69" r:id="rId4"/>
    <p:sldMasterId id="2147483678" r:id="rId5"/>
    <p:sldMasterId id="2147483702" r:id="rId6"/>
    <p:sldMasterId id="2147483660" r:id="rId7"/>
  </p:sldMasterIdLst>
  <p:notesMasterIdLst>
    <p:notesMasterId r:id="rId9"/>
  </p:notesMasterIdLst>
  <p:handoutMasterIdLst>
    <p:handoutMasterId r:id="rId10"/>
  </p:handoutMasterIdLst>
  <p:sldIdLst>
    <p:sldId id="2134807088" r:id="rId8"/>
  </p:sldIdLst>
  <p:sldSz cx="9906000" cy="6858000" type="A4"/>
  <p:notesSz cx="9939338" cy="6805613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065" userDrawn="1">
          <p15:clr>
            <a:srgbClr val="A4A3A4"/>
          </p15:clr>
        </p15:guide>
        <p15:guide id="2" pos="308" userDrawn="1">
          <p15:clr>
            <a:srgbClr val="A4A3A4"/>
          </p15:clr>
        </p15:guide>
        <p15:guide id="4" orient="horz" pos="3748" userDrawn="1">
          <p15:clr>
            <a:srgbClr val="A4A3A4"/>
          </p15:clr>
        </p15:guide>
        <p15:guide id="5" orient="horz" pos="2092" userDrawn="1">
          <p15:clr>
            <a:srgbClr val="A4A3A4"/>
          </p15:clr>
        </p15:guide>
        <p15:guide id="6" pos="3936" userDrawn="1">
          <p15:clr>
            <a:srgbClr val="A4A3A4"/>
          </p15:clr>
        </p15:guide>
        <p15:guide id="7" pos="5978" userDrawn="1">
          <p15:clr>
            <a:srgbClr val="A4A3A4"/>
          </p15:clr>
        </p15:guide>
        <p15:guide id="8" pos="3687" userDrawn="1">
          <p15:clr>
            <a:srgbClr val="A4A3A4"/>
          </p15:clr>
        </p15:guide>
        <p15:guide id="9" pos="3052" userDrawn="1">
          <p15:clr>
            <a:srgbClr val="A4A3A4"/>
          </p15:clr>
        </p15:guide>
        <p15:guide id="10" orient="horz" pos="1706" userDrawn="1">
          <p15:clr>
            <a:srgbClr val="A4A3A4"/>
          </p15:clr>
        </p15:guide>
        <p15:guide id="11" orient="horz" pos="550" userDrawn="1">
          <p15:clr>
            <a:srgbClr val="A4A3A4"/>
          </p15:clr>
        </p15:guide>
        <p15:guide id="12" pos="35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D05C8CB-EB54-CD76-5506-4CD04C6C4C22}" name="김 동민" initials="동김" userId="S::min9056@withie.co.kr::844e4c5f-951c-485d-9e8b-e9abb8c1b9a8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D6E6E"/>
    <a:srgbClr val="FFFFD1"/>
    <a:srgbClr val="D9E1F2"/>
    <a:srgbClr val="FFFEE6"/>
    <a:srgbClr val="4214FE"/>
    <a:srgbClr val="DAEDEF"/>
    <a:srgbClr val="E6E6E6"/>
    <a:srgbClr val="0000FA"/>
    <a:srgbClr val="0000FF"/>
    <a:srgbClr val="E6B58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6" d="100"/>
          <a:sy n="106" d="100"/>
        </p:scale>
        <p:origin x="1512" y="96"/>
      </p:cViewPr>
      <p:guideLst>
        <p:guide orient="horz" pos="4065"/>
        <p:guide pos="308"/>
        <p:guide orient="horz" pos="3748"/>
        <p:guide orient="horz" pos="2092"/>
        <p:guide pos="3936"/>
        <p:guide pos="5978"/>
        <p:guide pos="3687"/>
        <p:guide pos="3052"/>
        <p:guide orient="horz" pos="1706"/>
        <p:guide orient="horz" pos="550"/>
        <p:guide pos="35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8/10/relationships/authors" Target="authors.xml"/><Relationship Id="rId10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열판매량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A84-4179-8926-906189E8AED9}"/>
              </c:ext>
            </c:extLst>
          </c:dPt>
          <c:dPt>
            <c:idx val="1"/>
            <c:invertIfNegative val="0"/>
            <c:bubble3D val="0"/>
            <c:spPr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4A84-4179-8926-906189E8AED9}"/>
              </c:ext>
            </c:extLst>
          </c:dPt>
          <c:dLbls>
            <c:dLbl>
              <c:idx val="1"/>
              <c:numFmt formatCode="#,##0_);[Red]\(#,##0\)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rgbClr val="0000FF"/>
                      </a:solidFill>
                      <a:latin typeface="나눔고딕" panose="020D0604000000000000" pitchFamily="50" charset="-127"/>
                      <a:ea typeface="나눔고딕" panose="020D0604000000000000" pitchFamily="50" charset="-127"/>
                      <a:cs typeface="+mn-cs"/>
                    </a:defRPr>
                  </a:pPr>
                  <a:endParaRPr lang="ko-K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4A84-4179-8926-906189E8AED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rgbClr val="0000FF"/>
                    </a:solidFill>
                    <a:latin typeface="나눔고딕" panose="020D0604000000000000" pitchFamily="50" charset="-127"/>
                    <a:ea typeface="나눔고딕" panose="020D0604000000000000" pitchFamily="50" charset="-127"/>
                    <a:cs typeface="+mn-cs"/>
                  </a:defRPr>
                </a:pPr>
                <a:endParaRPr lang="ko-K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2021년</c:v>
                </c:pt>
                <c:pt idx="1">
                  <c:v>2024년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960</c:v>
                </c:pt>
                <c:pt idx="1">
                  <c:v>11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60E-4BCA-A5FC-C4FAF9C5912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수열량</c:v>
                </c:pt>
              </c:strCache>
            </c:strRef>
          </c:tx>
          <c:spPr>
            <a:solidFill>
              <a:schemeClr val="accent6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rgbClr val="0000FF"/>
                    </a:solidFill>
                    <a:latin typeface="나눔고딕" panose="020D0604000000000000" pitchFamily="50" charset="-127"/>
                    <a:ea typeface="나눔고딕" panose="020D0604000000000000" pitchFamily="50" charset="-127"/>
                    <a:cs typeface="+mn-cs"/>
                  </a:defRPr>
                </a:pPr>
                <a:endParaRPr lang="ko-K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2021년</c:v>
                </c:pt>
                <c:pt idx="1">
                  <c:v>2024년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344</c:v>
                </c:pt>
                <c:pt idx="1">
                  <c:v>5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60E-4BCA-A5FC-C4FAF9C591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90"/>
        <c:overlap val="-40"/>
        <c:axId val="210985760"/>
        <c:axId val="210987872"/>
      </c:barChart>
      <c:catAx>
        <c:axId val="2109857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defRPr>
            </a:pPr>
            <a:endParaRPr lang="ko-KR"/>
          </a:p>
        </c:txPr>
        <c:crossAx val="210987872"/>
        <c:crosses val="autoZero"/>
        <c:auto val="1"/>
        <c:lblAlgn val="ctr"/>
        <c:lblOffset val="100"/>
        <c:noMultiLvlLbl val="0"/>
      </c:catAx>
      <c:valAx>
        <c:axId val="21098787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109857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9632042769126312"/>
          <c:y val="1.1950042088301747E-2"/>
          <c:w val="0.5858285016458179"/>
          <c:h val="9.352787083021980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+mn-cs"/>
            </a:defRPr>
          </a:pPr>
          <a:endParaRPr lang="ko-K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6350">
      <a:solidFill>
        <a:schemeClr val="bg1">
          <a:lumMod val="50000"/>
        </a:schemeClr>
      </a:solidFill>
    </a:ln>
    <a:effectLst/>
  </c:spPr>
  <c:txPr>
    <a:bodyPr/>
    <a:lstStyle/>
    <a:p>
      <a:pPr>
        <a:defRPr/>
      </a:pPr>
      <a:endParaRPr lang="ko-K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4306737" cy="3413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quarter" idx="1"/>
          </p:nvPr>
        </p:nvSpPr>
        <p:spPr>
          <a:xfrm>
            <a:off x="5630285" y="1"/>
            <a:ext cx="4306737" cy="3413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6D8F445-EC1A-4A49-ADBB-B8D9BD6A9271}" type="datetimeFigureOut">
              <a:rPr lang="ko-KR" altLang="en-US" smtClean="0"/>
              <a:t>2024-05-30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2"/>
          </p:nvPr>
        </p:nvSpPr>
        <p:spPr>
          <a:xfrm>
            <a:off x="2" y="6464300"/>
            <a:ext cx="4306737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3"/>
          </p:nvPr>
        </p:nvSpPr>
        <p:spPr>
          <a:xfrm>
            <a:off x="5630285" y="6464300"/>
            <a:ext cx="4306737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089F761-135D-4538-A77F-CDF2FC910AFD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1681144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4307047" cy="34146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5629993" y="1"/>
            <a:ext cx="4307047" cy="34146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3D10041-3460-4F6A-A7EF-F01620F6C00E}" type="datetimeFigureOut">
              <a:rPr lang="ko-KR" altLang="en-US" smtClean="0"/>
              <a:t>2024-05-30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3309938" y="850900"/>
            <a:ext cx="3319462" cy="22971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993935" y="3275202"/>
            <a:ext cx="7951470" cy="267971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2" y="6464152"/>
            <a:ext cx="4307047" cy="3414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5629993" y="6464152"/>
            <a:ext cx="4307047" cy="3414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30093AC-2C16-4D3F-98A8-DB8AD506064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229870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144" userDrawn="1">
          <p15:clr>
            <a:srgbClr val="F26B43"/>
          </p15:clr>
        </p15:guide>
        <p15:guide id="2" pos="3131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648080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1584129069"/>
      </p:ext>
    </p:extLst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830989252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9634542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0" y="2130434"/>
            <a:ext cx="8420100" cy="1470025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9"/>
            <a:ext cx="2311400" cy="365125"/>
          </a:xfrm>
          <a:prstGeom prst="rect">
            <a:avLst/>
          </a:prstGeom>
        </p:spPr>
        <p:txBody>
          <a:bodyPr/>
          <a:lstStyle/>
          <a:p>
            <a:endParaRPr lang="ko-KR" altLang="en-US">
              <a:solidFill>
                <a:srgbClr val="000000"/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9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ko-KR" altLang="en-US">
              <a:solidFill>
                <a:srgbClr val="000000"/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59"/>
            <a:ext cx="2311400" cy="365125"/>
          </a:xfrm>
          <a:prstGeom prst="rect">
            <a:avLst/>
          </a:prstGeom>
        </p:spPr>
        <p:txBody>
          <a:bodyPr/>
          <a:lstStyle/>
          <a:p>
            <a:fld id="{ABBAB431-A10F-45AC-927E-A8C17882AE02}" type="slidenum">
              <a:rPr lang="ko-KR" altLang="en-US">
                <a:solidFill>
                  <a:srgbClr val="000000"/>
                </a:solidFill>
              </a:rPr>
              <a:pPr/>
              <a:t>‹#›</a:t>
            </a:fld>
            <a:endParaRPr lang="ko-KR" altLang="en-US">
              <a:solidFill>
                <a:srgbClr val="000000"/>
              </a:solidFill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9615" y="6456979"/>
            <a:ext cx="1213338" cy="37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213767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직선 연결선 1"/>
          <p:cNvCxnSpPr/>
          <p:nvPr userDrawn="1"/>
        </p:nvCxnSpPr>
        <p:spPr>
          <a:xfrm>
            <a:off x="9525" y="6492875"/>
            <a:ext cx="9906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9612717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961271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179394" y="762000"/>
            <a:ext cx="9454130" cy="5691336"/>
          </a:xfrm>
        </p:spPr>
        <p:txBody>
          <a:bodyPr/>
          <a:lstStyle>
            <a:lvl1pPr>
              <a:defRPr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  <a:lvl2pPr>
              <a:defRPr>
                <a:latin typeface="나눔고딕" panose="020D0604000000000000" pitchFamily="50" charset="-127"/>
                <a:ea typeface="나눔고딕" panose="020D0604000000000000" pitchFamily="50" charset="-127"/>
              </a:defRPr>
            </a:lvl2pPr>
            <a:lvl3pPr>
              <a:defRPr>
                <a:latin typeface="나눔고딕" panose="020D0604000000000000" pitchFamily="50" charset="-127"/>
                <a:ea typeface="나눔고딕" panose="020D0604000000000000" pitchFamily="50" charset="-127"/>
              </a:defRPr>
            </a:lvl3pPr>
            <a:lvl4pPr>
              <a:defRPr sz="900">
                <a:latin typeface="나눔고딕" panose="020D0604000000000000" pitchFamily="50" charset="-127"/>
                <a:ea typeface="나눔고딕" panose="020D0604000000000000" pitchFamily="50" charset="-127"/>
              </a:defRPr>
            </a:lvl4pPr>
            <a:lvl5pPr>
              <a:defRPr sz="900">
                <a:latin typeface="나눔고딕" panose="020D0604000000000000" pitchFamily="50" charset="-127"/>
                <a:ea typeface="나눔고딕" panose="020D0604000000000000" pitchFamily="50" charset="-127"/>
              </a:defRPr>
            </a:lvl5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</p:spTree>
    <p:extLst>
      <p:ext uri="{BB962C8B-B14F-4D97-AF65-F5344CB8AC3E}">
        <p14:creationId xmlns:p14="http://schemas.microsoft.com/office/powerpoint/2010/main" val="2217179646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60123762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6723" y="1406529"/>
            <a:ext cx="8964366" cy="4932363"/>
          </a:xfrm>
        </p:spPr>
        <p:txBody>
          <a:bodyPr/>
          <a:lstStyle>
            <a:lvl4pPr>
              <a:defRPr>
                <a:latin typeface="나눔고딕" panose="020D0604000000000000" pitchFamily="50" charset="-127"/>
                <a:ea typeface="나눔고딕" panose="020D0604000000000000" pitchFamily="50" charset="-127"/>
              </a:defRPr>
            </a:lvl4pPr>
            <a:lvl5pPr>
              <a:defRPr>
                <a:latin typeface="나눔고딕" panose="020D0604000000000000" pitchFamily="50" charset="-127"/>
                <a:ea typeface="나눔고딕" panose="020D0604000000000000" pitchFamily="50" charset="-12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Rectangle 15"/>
          <p:cNvSpPr>
            <a:spLocks noChangeArrowheads="1"/>
          </p:cNvSpPr>
          <p:nvPr/>
        </p:nvSpPr>
        <p:spPr bwMode="gray">
          <a:xfrm>
            <a:off x="8805521" y="6478672"/>
            <a:ext cx="619022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en-GB" sz="1100">
              <a:solidFill>
                <a:srgbClr val="606060"/>
              </a:solidFill>
              <a:cs typeface="Arial" charset="0"/>
            </a:endParaRPr>
          </a:p>
        </p:txBody>
      </p:sp>
      <p:sp>
        <p:nvSpPr>
          <p:cNvPr id="4" name="DocID"/>
          <p:cNvSpPr txBox="1"/>
          <p:nvPr/>
        </p:nvSpPr>
        <p:spPr>
          <a:xfrm>
            <a:off x="1307502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de-DE" sz="700">
              <a:solidFill>
                <a:srgbClr val="606060"/>
              </a:solidFill>
            </a:endParaRPr>
          </a:p>
        </p:txBody>
      </p:sp>
      <p:sp>
        <p:nvSpPr>
          <p:cNvPr id="9" name="DocID"/>
          <p:cNvSpPr txBox="1"/>
          <p:nvPr userDrawn="1"/>
        </p:nvSpPr>
        <p:spPr>
          <a:xfrm>
            <a:off x="1307502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de-DE" sz="70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64384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nomenclature"/>
          <p:cNvSpPr txBox="1"/>
          <p:nvPr/>
        </p:nvSpPr>
        <p:spPr>
          <a:xfrm>
            <a:off x="931855" y="6458956"/>
            <a:ext cx="65" cy="13234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it-IT" sz="1000" b="1">
              <a:solidFill>
                <a:srgbClr val="606060"/>
              </a:solidFill>
            </a:endParaRPr>
          </a:p>
        </p:txBody>
      </p:sp>
      <p:sp>
        <p:nvSpPr>
          <p:cNvPr id="15" name="Subnomenclature"/>
          <p:cNvSpPr txBox="1"/>
          <p:nvPr userDrawn="1"/>
        </p:nvSpPr>
        <p:spPr>
          <a:xfrm>
            <a:off x="931855" y="6458956"/>
            <a:ext cx="65" cy="13234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it-IT" sz="1000" b="1">
              <a:solidFill>
                <a:srgbClr val="606060"/>
              </a:solidFill>
            </a:endParaRPr>
          </a:p>
        </p:txBody>
      </p:sp>
      <p:pic>
        <p:nvPicPr>
          <p:cNvPr id="19" name="Picture 18" descr="pasted-image.pdf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424866" y="5935745"/>
            <a:ext cx="1056268" cy="301625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schemeClr val="bg1">
                <a:alpha val="4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 type="none" w="med" len="med"/>
                <a:tailEnd type="none" w="med" len="med"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141820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nomenclature"/>
          <p:cNvSpPr txBox="1"/>
          <p:nvPr/>
        </p:nvSpPr>
        <p:spPr>
          <a:xfrm>
            <a:off x="931855" y="6458956"/>
            <a:ext cx="65" cy="13234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it-IT" sz="1000" b="1">
              <a:solidFill>
                <a:srgbClr val="606060"/>
              </a:solidFill>
            </a:endParaRPr>
          </a:p>
        </p:txBody>
      </p:sp>
      <p:sp>
        <p:nvSpPr>
          <p:cNvPr id="15" name="Subnomenclature"/>
          <p:cNvSpPr txBox="1"/>
          <p:nvPr userDrawn="1"/>
        </p:nvSpPr>
        <p:spPr>
          <a:xfrm>
            <a:off x="931855" y="6458956"/>
            <a:ext cx="65" cy="13234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it-IT" sz="1000" b="1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92802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0" y="2130434"/>
            <a:ext cx="8420100" cy="1470025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9"/>
            <a:ext cx="2311400" cy="365125"/>
          </a:xfrm>
          <a:prstGeom prst="rect">
            <a:avLst/>
          </a:prstGeom>
        </p:spPr>
        <p:txBody>
          <a:bodyPr/>
          <a:lstStyle/>
          <a:p>
            <a:endParaRPr lang="ko-KR" altLang="en-US">
              <a:solidFill>
                <a:srgbClr val="000000"/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9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ko-KR" altLang="en-US">
              <a:solidFill>
                <a:srgbClr val="000000"/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59"/>
            <a:ext cx="2311400" cy="365125"/>
          </a:xfrm>
          <a:prstGeom prst="rect">
            <a:avLst/>
          </a:prstGeom>
        </p:spPr>
        <p:txBody>
          <a:bodyPr/>
          <a:lstStyle/>
          <a:p>
            <a:fld id="{ABBAB431-A10F-45AC-927E-A8C17882AE02}" type="slidenum">
              <a:rPr lang="ko-KR" altLang="en-US">
                <a:solidFill>
                  <a:srgbClr val="000000"/>
                </a:solidFill>
              </a:rPr>
              <a:pPr/>
              <a:t>‹#›</a:t>
            </a:fld>
            <a:endParaRPr lang="ko-KR" altLang="en-US">
              <a:solidFill>
                <a:srgbClr val="000000"/>
              </a:solidFill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9615" y="6456979"/>
            <a:ext cx="1213338" cy="37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94646517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6723" y="1406529"/>
            <a:ext cx="8964366" cy="49323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Rectangle 15"/>
          <p:cNvSpPr>
            <a:spLocks noChangeArrowheads="1"/>
          </p:cNvSpPr>
          <p:nvPr/>
        </p:nvSpPr>
        <p:spPr bwMode="gray">
          <a:xfrm>
            <a:off x="8805521" y="6478672"/>
            <a:ext cx="619022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en-GB" sz="1100">
              <a:solidFill>
                <a:srgbClr val="606060"/>
              </a:solidFill>
              <a:cs typeface="Arial" charset="0"/>
            </a:endParaRPr>
          </a:p>
        </p:txBody>
      </p:sp>
      <p:sp>
        <p:nvSpPr>
          <p:cNvPr id="4" name="DocID"/>
          <p:cNvSpPr txBox="1"/>
          <p:nvPr/>
        </p:nvSpPr>
        <p:spPr>
          <a:xfrm>
            <a:off x="1307502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de-DE" sz="700">
              <a:solidFill>
                <a:srgbClr val="606060"/>
              </a:solidFill>
            </a:endParaRPr>
          </a:p>
        </p:txBody>
      </p:sp>
      <p:sp>
        <p:nvSpPr>
          <p:cNvPr id="9" name="DocID"/>
          <p:cNvSpPr txBox="1"/>
          <p:nvPr userDrawn="1"/>
        </p:nvSpPr>
        <p:spPr>
          <a:xfrm>
            <a:off x="1307502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de-DE" sz="70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575303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40530" y="785794"/>
            <a:ext cx="9402134" cy="5715040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9201472" y="6624513"/>
            <a:ext cx="704528" cy="233773"/>
          </a:xfrm>
          <a:prstGeom prst="rect">
            <a:avLst/>
          </a:prstGeom>
        </p:spPr>
        <p:txBody>
          <a:bodyPr/>
          <a:lstStyle>
            <a:lvl1pPr algn="r">
              <a:defRPr sz="907"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defRPr>
            </a:lvl1pPr>
          </a:lstStyle>
          <a:p>
            <a:fld id="{72EC6EA6-60A6-4E9A-BA8E-F1C90815A9AE}" type="slidenum">
              <a:rPr lang="ko-KR" altLang="en-US" smtClean="0"/>
              <a:pPr/>
              <a:t>‹#›</a:t>
            </a:fld>
            <a:r>
              <a:rPr lang="en-US" altLang="ko-KR"/>
              <a:t>/8</a:t>
            </a:r>
            <a:endParaRPr lang="ko-KR" altLang="en-US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39092" y="87830"/>
            <a:ext cx="9245631" cy="455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3130987920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9201472" y="6624513"/>
            <a:ext cx="704528" cy="233773"/>
          </a:xfrm>
          <a:prstGeom prst="rect">
            <a:avLst/>
          </a:prstGeom>
        </p:spPr>
        <p:txBody>
          <a:bodyPr/>
          <a:lstStyle>
            <a:lvl1pPr algn="r">
              <a:defRPr sz="907"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defRPr>
            </a:lvl1pPr>
          </a:lstStyle>
          <a:p>
            <a:fld id="{72EC6EA6-60A6-4E9A-BA8E-F1C90815A9AE}" type="slidenum">
              <a:rPr lang="ko-KR" altLang="en-US" smtClean="0"/>
              <a:pPr/>
              <a:t>‹#›</a:t>
            </a:fld>
            <a:r>
              <a:rPr lang="en-US" altLang="ko-KR"/>
              <a:t>/8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7264958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45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129904" y="1628800"/>
            <a:ext cx="6913563" cy="1224137"/>
          </a:xfrm>
        </p:spPr>
        <p:txBody>
          <a:bodyPr wrap="square" tIns="72000" bIns="72000" anchor="t"/>
          <a:lstStyle>
            <a:lvl1pPr>
              <a:defRPr sz="2742"/>
            </a:lvl1pPr>
          </a:lstStyle>
          <a:p>
            <a:r>
              <a:rPr lang="ko-KR" altLang="en-US"/>
              <a:t>마스터 제목 스타일 편집</a:t>
            </a:r>
            <a:endParaRPr lang="ko-KR" altLang="ko-KR"/>
          </a:p>
        </p:txBody>
      </p:sp>
    </p:spTree>
    <p:extLst>
      <p:ext uri="{BB962C8B-B14F-4D97-AF65-F5344CB8AC3E}">
        <p14:creationId xmlns:p14="http://schemas.microsoft.com/office/powerpoint/2010/main" val="2396562248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179394" y="762000"/>
            <a:ext cx="9454130" cy="5691336"/>
          </a:xfrm>
        </p:spPr>
        <p:txBody>
          <a:bodyPr/>
          <a:lstStyle>
            <a:lvl1pPr>
              <a:defRPr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  <a:lvl2pPr>
              <a:defRPr>
                <a:latin typeface="나눔고딕" panose="020D0604000000000000" pitchFamily="50" charset="-127"/>
                <a:ea typeface="나눔고딕" panose="020D0604000000000000" pitchFamily="50" charset="-127"/>
              </a:defRPr>
            </a:lvl2pPr>
            <a:lvl3pPr>
              <a:defRPr>
                <a:latin typeface="나눔고딕" panose="020D0604000000000000" pitchFamily="50" charset="-127"/>
                <a:ea typeface="나눔고딕" panose="020D0604000000000000" pitchFamily="50" charset="-127"/>
              </a:defRPr>
            </a:lvl3pPr>
            <a:lvl4pPr>
              <a:defRPr sz="900">
                <a:latin typeface="나눔고딕" panose="020D0604000000000000" pitchFamily="50" charset="-127"/>
                <a:ea typeface="나눔고딕" panose="020D0604000000000000" pitchFamily="50" charset="-127"/>
              </a:defRPr>
            </a:lvl4pPr>
            <a:lvl5pPr>
              <a:defRPr sz="900">
                <a:latin typeface="나눔고딕" panose="020D0604000000000000" pitchFamily="50" charset="-127"/>
                <a:ea typeface="나눔고딕" panose="020D0604000000000000" pitchFamily="50" charset="-127"/>
              </a:defRPr>
            </a:lvl5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</p:spTree>
    <p:extLst>
      <p:ext uri="{BB962C8B-B14F-4D97-AF65-F5344CB8AC3E}">
        <p14:creationId xmlns:p14="http://schemas.microsoft.com/office/powerpoint/2010/main" val="3957664427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1769654540"/>
      </p:ext>
    </p:extLst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6723" y="1406529"/>
            <a:ext cx="8964366" cy="4932363"/>
          </a:xfrm>
        </p:spPr>
        <p:txBody>
          <a:bodyPr/>
          <a:lstStyle>
            <a:lvl4pPr>
              <a:defRPr>
                <a:latin typeface="나눔고딕" panose="020D0604000000000000" pitchFamily="50" charset="-127"/>
                <a:ea typeface="나눔고딕" panose="020D0604000000000000" pitchFamily="50" charset="-127"/>
              </a:defRPr>
            </a:lvl4pPr>
            <a:lvl5pPr>
              <a:defRPr>
                <a:latin typeface="나눔고딕" panose="020D0604000000000000" pitchFamily="50" charset="-127"/>
                <a:ea typeface="나눔고딕" panose="020D0604000000000000" pitchFamily="50" charset="-12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Rectangle 15"/>
          <p:cNvSpPr>
            <a:spLocks noChangeArrowheads="1"/>
          </p:cNvSpPr>
          <p:nvPr/>
        </p:nvSpPr>
        <p:spPr bwMode="gray">
          <a:xfrm>
            <a:off x="8805521" y="6478672"/>
            <a:ext cx="619022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en-GB" sz="1100">
              <a:solidFill>
                <a:srgbClr val="606060"/>
              </a:solidFill>
              <a:cs typeface="Arial" charset="0"/>
            </a:endParaRPr>
          </a:p>
        </p:txBody>
      </p:sp>
      <p:sp>
        <p:nvSpPr>
          <p:cNvPr id="4" name="DocID"/>
          <p:cNvSpPr txBox="1"/>
          <p:nvPr/>
        </p:nvSpPr>
        <p:spPr>
          <a:xfrm>
            <a:off x="1307502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de-DE" sz="700">
              <a:solidFill>
                <a:srgbClr val="606060"/>
              </a:solidFill>
            </a:endParaRPr>
          </a:p>
        </p:txBody>
      </p:sp>
      <p:sp>
        <p:nvSpPr>
          <p:cNvPr id="9" name="DocID"/>
          <p:cNvSpPr txBox="1"/>
          <p:nvPr userDrawn="1"/>
        </p:nvSpPr>
        <p:spPr>
          <a:xfrm>
            <a:off x="1307502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de-DE" sz="70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980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>
              <a:defRPr>
                <a:latin typeface="맑은 고딕" panose="020B0503020000020004" pitchFamily="50" charset="-127"/>
                <a:ea typeface="맑은 고딕" panose="020B0503020000020004" pitchFamily="50" charset="-127"/>
              </a:defRPr>
            </a:lvl2pPr>
            <a:lvl3pPr>
              <a:defRPr>
                <a:latin typeface="맑은 고딕" panose="020B0503020000020004" pitchFamily="50" charset="-127"/>
                <a:ea typeface="맑은 고딕" panose="020B0503020000020004" pitchFamily="50" charset="-127"/>
              </a:defRPr>
            </a:lvl3pPr>
            <a:lvl4pPr>
              <a:defRPr>
                <a:latin typeface="맑은 고딕" panose="020B0503020000020004" pitchFamily="50" charset="-127"/>
                <a:ea typeface="맑은 고딕" panose="020B0503020000020004" pitchFamily="50" charset="-127"/>
              </a:defRPr>
            </a:lvl4pPr>
            <a:lvl5pPr>
              <a:defRPr>
                <a:latin typeface="맑은 고딕" panose="020B0503020000020004" pitchFamily="50" charset="-127"/>
                <a:ea typeface="맑은 고딕" panose="020B0503020000020004" pitchFamily="50" charset="-127"/>
              </a:defRPr>
            </a:lvl5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</p:spTree>
    <p:extLst>
      <p:ext uri="{BB962C8B-B14F-4D97-AF65-F5344CB8AC3E}">
        <p14:creationId xmlns:p14="http://schemas.microsoft.com/office/powerpoint/2010/main" val="30920889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78043" y="170116"/>
            <a:ext cx="8563391" cy="40011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62">
                <a:solidFill>
                  <a:schemeClr val="tx1"/>
                </a:solidFill>
              </a:defRPr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3"/>
            <a:ext cx="2311400" cy="365125"/>
          </a:xfrm>
          <a:prstGeom prst="rect">
            <a:avLst/>
          </a:prstGeom>
        </p:spPr>
        <p:txBody>
          <a:bodyPr/>
          <a:lstStyle/>
          <a:p>
            <a:fld id="{88B8083D-798E-401C-BB0D-B4FFF9719273}" type="datetime1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4-05-30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3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슬라이드 번호 개체 틀 5">
            <a:extLst>
              <a:ext uri="{FF2B5EF4-FFF2-40B4-BE49-F238E27FC236}">
                <a16:creationId xmlns:a16="http://schemas.microsoft.com/office/drawing/2014/main" id="{36B56011-E6D4-4202-8A53-5A6AEA4C86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127928" y="6482934"/>
            <a:ext cx="2743200" cy="365125"/>
          </a:xfrm>
          <a:prstGeom prst="rect">
            <a:avLst/>
          </a:prstGeom>
        </p:spPr>
        <p:txBody>
          <a:bodyPr anchor="b"/>
          <a:lstStyle>
            <a:lvl1pPr algn="r">
              <a:defRPr sz="738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fld id="{1D6E85BC-18BD-48BE-8A0B-438D586708A3}" type="slidenum">
              <a:rPr lang="ko-KR" altLang="en-US" smtClean="0">
                <a:solidFill>
                  <a:prstClr val="black"/>
                </a:solidFill>
              </a:rPr>
              <a:pPr/>
              <a:t>‹#›</a:t>
            </a:fld>
            <a:r>
              <a:rPr lang="ko-KR" altLang="en-US">
                <a:solidFill>
                  <a:prstClr val="black"/>
                </a:solidFill>
              </a:rPr>
              <a:t> </a:t>
            </a:r>
            <a:r>
              <a:rPr lang="en-US" altLang="ko-KR">
                <a:solidFill>
                  <a:prstClr val="black"/>
                </a:solidFill>
              </a:rPr>
              <a:t>/ 20</a:t>
            </a:r>
            <a:endParaRPr lang="ko-KR" altLang="en-US">
              <a:solidFill>
                <a:prstClr val="black"/>
              </a:solidFill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5156C94E-02F0-30A4-7563-19F89DDCC6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7F7F7"/>
              </a:clrFrom>
              <a:clrTo>
                <a:srgbClr val="F7F7F7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948859" y="116634"/>
            <a:ext cx="506934" cy="438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909070"/>
      </p:ext>
    </p:extLst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78043" y="170116"/>
            <a:ext cx="8563391" cy="40011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62">
                <a:solidFill>
                  <a:schemeClr val="tx1"/>
                </a:solidFill>
              </a:defRPr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3"/>
            <a:ext cx="2311400" cy="365125"/>
          </a:xfrm>
          <a:prstGeom prst="rect">
            <a:avLst/>
          </a:prstGeom>
        </p:spPr>
        <p:txBody>
          <a:bodyPr/>
          <a:lstStyle/>
          <a:p>
            <a:fld id="{88B8083D-798E-401C-BB0D-B4FFF9719273}" type="datetime1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4-05-30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3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슬라이드 번호 개체 틀 5">
            <a:extLst>
              <a:ext uri="{FF2B5EF4-FFF2-40B4-BE49-F238E27FC236}">
                <a16:creationId xmlns:a16="http://schemas.microsoft.com/office/drawing/2014/main" id="{36B56011-E6D4-4202-8A53-5A6AEA4C86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127928" y="6482934"/>
            <a:ext cx="2743200" cy="365125"/>
          </a:xfrm>
          <a:prstGeom prst="rect">
            <a:avLst/>
          </a:prstGeom>
        </p:spPr>
        <p:txBody>
          <a:bodyPr anchor="b"/>
          <a:lstStyle>
            <a:lvl1pPr algn="r">
              <a:defRPr sz="738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fld id="{1D6E85BC-18BD-48BE-8A0B-438D586708A3}" type="slidenum">
              <a:rPr lang="ko-KR" altLang="en-US" smtClean="0">
                <a:solidFill>
                  <a:prstClr val="black"/>
                </a:solidFill>
              </a:rPr>
              <a:pPr/>
              <a:t>‹#›</a:t>
            </a:fld>
            <a:r>
              <a:rPr lang="ko-KR" altLang="en-US">
                <a:solidFill>
                  <a:prstClr val="black"/>
                </a:solidFill>
              </a:rPr>
              <a:t> </a:t>
            </a:r>
            <a:r>
              <a:rPr lang="en-US" altLang="ko-KR">
                <a:solidFill>
                  <a:prstClr val="black"/>
                </a:solidFill>
              </a:rPr>
              <a:t>/ 20</a:t>
            </a:r>
            <a:endParaRPr lang="ko-KR" altLang="en-US">
              <a:solidFill>
                <a:prstClr val="black"/>
              </a:solidFill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5156C94E-02F0-30A4-7563-19F89DDCC6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7F7F7"/>
              </a:clrFrom>
              <a:clrTo>
                <a:srgbClr val="F7F7F7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948859" y="116634"/>
            <a:ext cx="506934" cy="438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8344066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장">
    <p:bg>
      <p:bgPr>
        <a:solidFill>
          <a:sysClr val="window" lastClr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슬라이드 번호 개체 틀 5">
            <a:extLst>
              <a:ext uri="{FF2B5EF4-FFF2-40B4-BE49-F238E27FC236}">
                <a16:creationId xmlns:a16="http://schemas.microsoft.com/office/drawing/2014/main" id="{F2945E8C-E849-4D43-B443-030704E7FDC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78273" y="6424535"/>
            <a:ext cx="202406" cy="194215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554">
                <a:latin typeface="Noto Sans CJK KR Medium" panose="020B0600000000000000" pitchFamily="34" charset="-127"/>
                <a:ea typeface="Noto Sans CJK KR Medium" panose="020B0600000000000000" pitchFamily="34" charset="-127"/>
              </a:defRPr>
            </a:lvl1pPr>
          </a:lstStyle>
          <a:p>
            <a:fld id="{EE46CB3B-22D4-45B7-ACB3-C65C57F3601B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757058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14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heme" Target="../theme/theme3.xml"/><Relationship Id="rId7" Type="http://schemas.openxmlformats.org/officeDocument/2006/relationships/tags" Target="../tags/tag4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tags" Target="../tags/tag1.xml"/><Relationship Id="rId9" Type="http://schemas.openxmlformats.org/officeDocument/2006/relationships/image" Target="../media/image4.emf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4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0" name="Rectangle 46"/>
          <p:cNvSpPr>
            <a:spLocks noGrp="1" noChangeArrowheads="1"/>
          </p:cNvSpPr>
          <p:nvPr>
            <p:ph type="title"/>
          </p:nvPr>
        </p:nvSpPr>
        <p:spPr bwMode="auto">
          <a:xfrm>
            <a:off x="493159" y="116828"/>
            <a:ext cx="8374012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71" name="Rectangle 47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1127" y="791598"/>
            <a:ext cx="8929976" cy="55603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20596" y="6571332"/>
            <a:ext cx="921573" cy="266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모서리가 둥근 직사각형 9"/>
          <p:cNvSpPr/>
          <p:nvPr userDrawn="1"/>
        </p:nvSpPr>
        <p:spPr bwMode="auto">
          <a:xfrm>
            <a:off x="8589261" y="44624"/>
            <a:ext cx="1274590" cy="288032"/>
          </a:xfrm>
          <a:prstGeom prst="roundRect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100" b="1" i="1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Strictly Confidential </a:t>
            </a:r>
            <a:endParaRPr lang="ko-KR" altLang="en-US" sz="1100" b="1" i="1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Line 2">
            <a:extLst>
              <a:ext uri="{FF2B5EF4-FFF2-40B4-BE49-F238E27FC236}">
                <a16:creationId xmlns:a16="http://schemas.microsoft.com/office/drawing/2014/main" id="{6DB63BB0-9A00-43E4-86A9-51F7FD7D6BF5}"/>
              </a:ext>
            </a:extLst>
          </p:cNvPr>
          <p:cNvSpPr>
            <a:spLocks noChangeShapeType="1"/>
          </p:cNvSpPr>
          <p:nvPr userDrawn="1"/>
        </p:nvSpPr>
        <p:spPr bwMode="auto">
          <a:xfrm flipV="1">
            <a:off x="501128" y="610551"/>
            <a:ext cx="8929975" cy="0"/>
          </a:xfrm>
          <a:prstGeom prst="line">
            <a:avLst/>
          </a:prstGeom>
          <a:noFill/>
          <a:ln w="6350">
            <a:solidFill>
              <a:srgbClr val="92929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000">
              <a:solidFill>
                <a:srgbClr val="000000"/>
              </a:solidFill>
            </a:endParaRPr>
          </a:p>
        </p:txBody>
      </p:sp>
      <p:sp>
        <p:nvSpPr>
          <p:cNvPr id="11" name="슬라이드 번호 개체 틀 4">
            <a:extLst>
              <a:ext uri="{FF2B5EF4-FFF2-40B4-BE49-F238E27FC236}">
                <a16:creationId xmlns:a16="http://schemas.microsoft.com/office/drawing/2014/main" id="{AE7D71FA-4DC5-4091-B015-30896BBE8645}"/>
              </a:ext>
            </a:extLst>
          </p:cNvPr>
          <p:cNvSpPr txBox="1">
            <a:spLocks/>
          </p:cNvSpPr>
          <p:nvPr userDrawn="1"/>
        </p:nvSpPr>
        <p:spPr>
          <a:xfrm>
            <a:off x="9072282" y="6571332"/>
            <a:ext cx="787448" cy="243182"/>
          </a:xfrm>
          <a:prstGeom prst="rect">
            <a:avLst/>
          </a:prstGeom>
        </p:spPr>
        <p:txBody>
          <a:bodyPr anchor="ctr"/>
          <a:lstStyle>
            <a:lvl1pPr algn="ctr">
              <a:defRPr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</a:lstStyle>
          <a:p>
            <a:pPr algn="r">
              <a:defRPr/>
            </a:pPr>
            <a:fld id="{8E853F99-DCCA-4EE7-BBFF-101EC0F0C472}" type="slidenum">
              <a:rPr lang="ko-KR" altLang="en-US" sz="80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pPr algn="r">
                <a:defRPr/>
              </a:pPr>
              <a:t>‹#›</a:t>
            </a:fld>
            <a:r>
              <a:rPr lang="ko-KR" altLang="en-US" sz="80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 </a:t>
            </a:r>
            <a:r>
              <a:rPr lang="en-US" altLang="ko-KR" sz="80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/ 11</a:t>
            </a:r>
            <a:endParaRPr lang="ko-KR" altLang="en-US" sz="80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50388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3" r:id="rId3"/>
    <p:sldLayoutId id="2147483674" r:id="rId4"/>
    <p:sldLayoutId id="2147483675" r:id="rId5"/>
    <p:sldLayoutId id="2147483677" r:id="rId6"/>
    <p:sldLayoutId id="2147483686" r:id="rId7"/>
    <p:sldLayoutId id="2147483687" r:id="rId8"/>
    <p:sldLayoutId id="2147483688" r:id="rId9"/>
  </p:sldLayoutIdLst>
  <p:transition spd="med"/>
  <p:hf hdr="0" ftr="0" dt="0"/>
  <p:txStyles>
    <p:titleStyle>
      <a:lvl1pPr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나눔고딕" panose="020D0604000000000000" pitchFamily="50" charset="-127"/>
          <a:ea typeface="나눔고딕" panose="020D0604000000000000" pitchFamily="50" charset="-127"/>
          <a:cs typeface="+mj-cs"/>
        </a:defRPr>
      </a:lvl1pPr>
      <a:lvl2pPr algn="l" rtl="0" fontAlgn="base" latinLnBrk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Tahoma" pitchFamily="34" charset="0"/>
          <a:ea typeface="HY헤드라인M" pitchFamily="18" charset="-127"/>
        </a:defRPr>
      </a:lvl2pPr>
      <a:lvl3pPr algn="l" rtl="0" fontAlgn="base" latinLnBrk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Tahoma" pitchFamily="34" charset="0"/>
          <a:ea typeface="HY헤드라인M" pitchFamily="18" charset="-127"/>
        </a:defRPr>
      </a:lvl3pPr>
      <a:lvl4pPr algn="l" rtl="0" fontAlgn="base" latinLnBrk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Tahoma" pitchFamily="34" charset="0"/>
          <a:ea typeface="HY헤드라인M" pitchFamily="18" charset="-127"/>
        </a:defRPr>
      </a:lvl4pPr>
      <a:lvl5pPr algn="l" rtl="0" fontAlgn="base" latinLnBrk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Tahoma" pitchFamily="34" charset="0"/>
          <a:ea typeface="HY헤드라인M" pitchFamily="18" charset="-127"/>
        </a:defRPr>
      </a:lvl5pPr>
      <a:lvl6pPr marL="457200" algn="l" rtl="0" fontAlgn="base" latinLnBrk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Tahoma" pitchFamily="34" charset="0"/>
          <a:ea typeface="HY헤드라인M" pitchFamily="18" charset="-127"/>
        </a:defRPr>
      </a:lvl6pPr>
      <a:lvl7pPr marL="914400" algn="l" rtl="0" fontAlgn="base" latinLnBrk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Tahoma" pitchFamily="34" charset="0"/>
          <a:ea typeface="HY헤드라인M" pitchFamily="18" charset="-127"/>
        </a:defRPr>
      </a:lvl7pPr>
      <a:lvl8pPr marL="1371600" algn="l" rtl="0" fontAlgn="base" latinLnBrk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Tahoma" pitchFamily="34" charset="0"/>
          <a:ea typeface="HY헤드라인M" pitchFamily="18" charset="-127"/>
        </a:defRPr>
      </a:lvl8pPr>
      <a:lvl9pPr marL="1828800" algn="l" rtl="0" fontAlgn="base" latinLnBrk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Tahoma" pitchFamily="34" charset="0"/>
          <a:ea typeface="HY헤드라인M" pitchFamily="18" charset="-127"/>
        </a:defRPr>
      </a:lvl9pPr>
    </p:titleStyle>
    <p:bodyStyle>
      <a:lvl1pPr marL="269875" indent="-269875" algn="l" rtl="0" fontAlgn="base" latinLnBrk="1">
        <a:lnSpc>
          <a:spcPct val="130000"/>
        </a:lnSpc>
        <a:spcBef>
          <a:spcPct val="0"/>
        </a:spcBef>
        <a:spcAft>
          <a:spcPct val="0"/>
        </a:spcAft>
        <a:buFont typeface="Wingdings" pitchFamily="2" charset="2"/>
        <a:buChar char="q"/>
        <a:defRPr kumimoji="1" sz="1400" b="1">
          <a:solidFill>
            <a:schemeClr val="tx1"/>
          </a:solidFill>
          <a:latin typeface="+mn-lt"/>
          <a:ea typeface="나눔고딕" panose="020D0604000000000000" pitchFamily="50" charset="-127"/>
          <a:cs typeface="+mn-cs"/>
        </a:defRPr>
      </a:lvl1pPr>
      <a:lvl2pPr marL="539750" indent="-179388" algn="l" rtl="0" fontAlgn="base" latinLnBrk="1">
        <a:lnSpc>
          <a:spcPct val="130000"/>
        </a:lnSpc>
        <a:spcBef>
          <a:spcPct val="0"/>
        </a:spcBef>
        <a:spcAft>
          <a:spcPct val="0"/>
        </a:spcAft>
        <a:buChar char="•"/>
        <a:defRPr kumimoji="1" sz="1200">
          <a:solidFill>
            <a:schemeClr val="tx1"/>
          </a:solidFill>
          <a:latin typeface="+mn-lt"/>
          <a:ea typeface="나눔고딕" panose="020D0604000000000000" pitchFamily="50" charset="-127"/>
        </a:defRPr>
      </a:lvl2pPr>
      <a:lvl3pPr marL="901700" indent="-182563" algn="l" rtl="0" fontAlgn="base" latinLnBrk="1">
        <a:lnSpc>
          <a:spcPct val="130000"/>
        </a:lnSpc>
        <a:spcBef>
          <a:spcPct val="0"/>
        </a:spcBef>
        <a:spcAft>
          <a:spcPct val="0"/>
        </a:spcAft>
        <a:buFont typeface="굴림" pitchFamily="50" charset="-127"/>
        <a:buChar char="-"/>
        <a:defRPr kumimoji="1" sz="1100">
          <a:solidFill>
            <a:schemeClr val="tx1"/>
          </a:solidFill>
          <a:latin typeface="+mn-lt"/>
          <a:ea typeface="나눔고딕" panose="020D0604000000000000" pitchFamily="50" charset="-127"/>
        </a:defRPr>
      </a:lvl3pPr>
      <a:lvl4pPr marL="1600200" indent="-228600" algn="l" rtl="0" fontAlgn="base" latinLnBrk="1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굴림" pitchFamily="50" charset="-127"/>
          <a:ea typeface="굴림" pitchFamily="50" charset="-127"/>
        </a:defRPr>
      </a:lvl4pPr>
      <a:lvl5pPr marL="20574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굴림" pitchFamily="50" charset="-127"/>
          <a:ea typeface="굴림" pitchFamily="50" charset="-127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굴림" pitchFamily="50" charset="-127"/>
          <a:ea typeface="굴림" pitchFamily="50" charset="-127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굴림" pitchFamily="50" charset="-127"/>
          <a:ea typeface="굴림" pitchFamily="50" charset="-127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굴림" pitchFamily="50" charset="-127"/>
          <a:ea typeface="굴림" pitchFamily="50" charset="-127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굴림" pitchFamily="50" charset="-127"/>
          <a:ea typeface="굴림" pitchFamily="50" charset="-127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12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0" name="Rectangle 46"/>
          <p:cNvSpPr>
            <a:spLocks noGrp="1" noChangeArrowheads="1"/>
          </p:cNvSpPr>
          <p:nvPr>
            <p:ph type="title"/>
          </p:nvPr>
        </p:nvSpPr>
        <p:spPr bwMode="auto">
          <a:xfrm>
            <a:off x="493159" y="116828"/>
            <a:ext cx="8374012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71" name="Rectangle 47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1127" y="791598"/>
            <a:ext cx="8929976" cy="55603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20596" y="6571332"/>
            <a:ext cx="921573" cy="266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모서리가 둥근 직사각형 9"/>
          <p:cNvSpPr/>
          <p:nvPr userDrawn="1"/>
        </p:nvSpPr>
        <p:spPr bwMode="auto">
          <a:xfrm>
            <a:off x="8589261" y="44624"/>
            <a:ext cx="1274590" cy="288032"/>
          </a:xfrm>
          <a:prstGeom prst="roundRect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100" b="1" i="1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Strictly Confidential </a:t>
            </a:r>
            <a:endParaRPr lang="ko-KR" altLang="en-US" sz="1100" b="1" i="1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Line 2">
            <a:extLst>
              <a:ext uri="{FF2B5EF4-FFF2-40B4-BE49-F238E27FC236}">
                <a16:creationId xmlns:a16="http://schemas.microsoft.com/office/drawing/2014/main" id="{6DB63BB0-9A00-43E4-86A9-51F7FD7D6BF5}"/>
              </a:ext>
            </a:extLst>
          </p:cNvPr>
          <p:cNvSpPr>
            <a:spLocks noChangeShapeType="1"/>
          </p:cNvSpPr>
          <p:nvPr userDrawn="1"/>
        </p:nvSpPr>
        <p:spPr bwMode="auto">
          <a:xfrm flipV="1">
            <a:off x="501128" y="610551"/>
            <a:ext cx="8929975" cy="0"/>
          </a:xfrm>
          <a:prstGeom prst="line">
            <a:avLst/>
          </a:prstGeom>
          <a:noFill/>
          <a:ln w="6350">
            <a:solidFill>
              <a:srgbClr val="92929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99280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700" r:id="rId2"/>
    <p:sldLayoutId id="2147483680" r:id="rId3"/>
    <p:sldLayoutId id="2147483701" r:id="rId4"/>
    <p:sldLayoutId id="2147483681" r:id="rId5"/>
    <p:sldLayoutId id="2147483682" r:id="rId6"/>
    <p:sldLayoutId id="2147483683" r:id="rId7"/>
    <p:sldLayoutId id="2147483684" r:id="rId8"/>
    <p:sldLayoutId id="2147483685" r:id="rId9"/>
  </p:sldLayoutIdLst>
  <p:transition spd="med"/>
  <p:hf hdr="0" ftr="0" dt="0"/>
  <p:txStyles>
    <p:titleStyle>
      <a:lvl1pPr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나눔고딕" panose="020D0604000000000000" pitchFamily="50" charset="-127"/>
          <a:ea typeface="나눔고딕" panose="020D0604000000000000" pitchFamily="50" charset="-127"/>
          <a:cs typeface="+mj-cs"/>
        </a:defRPr>
      </a:lvl1pPr>
      <a:lvl2pPr algn="l" rtl="0" fontAlgn="base" latinLnBrk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Tahoma" pitchFamily="34" charset="0"/>
          <a:ea typeface="HY헤드라인M" pitchFamily="18" charset="-127"/>
        </a:defRPr>
      </a:lvl2pPr>
      <a:lvl3pPr algn="l" rtl="0" fontAlgn="base" latinLnBrk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Tahoma" pitchFamily="34" charset="0"/>
          <a:ea typeface="HY헤드라인M" pitchFamily="18" charset="-127"/>
        </a:defRPr>
      </a:lvl3pPr>
      <a:lvl4pPr algn="l" rtl="0" fontAlgn="base" latinLnBrk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Tahoma" pitchFamily="34" charset="0"/>
          <a:ea typeface="HY헤드라인M" pitchFamily="18" charset="-127"/>
        </a:defRPr>
      </a:lvl4pPr>
      <a:lvl5pPr algn="l" rtl="0" fontAlgn="base" latinLnBrk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Tahoma" pitchFamily="34" charset="0"/>
          <a:ea typeface="HY헤드라인M" pitchFamily="18" charset="-127"/>
        </a:defRPr>
      </a:lvl5pPr>
      <a:lvl6pPr marL="457200" algn="l" rtl="0" fontAlgn="base" latinLnBrk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Tahoma" pitchFamily="34" charset="0"/>
          <a:ea typeface="HY헤드라인M" pitchFamily="18" charset="-127"/>
        </a:defRPr>
      </a:lvl6pPr>
      <a:lvl7pPr marL="914400" algn="l" rtl="0" fontAlgn="base" latinLnBrk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Tahoma" pitchFamily="34" charset="0"/>
          <a:ea typeface="HY헤드라인M" pitchFamily="18" charset="-127"/>
        </a:defRPr>
      </a:lvl7pPr>
      <a:lvl8pPr marL="1371600" algn="l" rtl="0" fontAlgn="base" latinLnBrk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Tahoma" pitchFamily="34" charset="0"/>
          <a:ea typeface="HY헤드라인M" pitchFamily="18" charset="-127"/>
        </a:defRPr>
      </a:lvl8pPr>
      <a:lvl9pPr marL="1828800" algn="l" rtl="0" fontAlgn="base" latinLnBrk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Tahoma" pitchFamily="34" charset="0"/>
          <a:ea typeface="HY헤드라인M" pitchFamily="18" charset="-127"/>
        </a:defRPr>
      </a:lvl9pPr>
    </p:titleStyle>
    <p:bodyStyle>
      <a:lvl1pPr marL="269875" indent="-269875" algn="l" rtl="0" fontAlgn="base" latinLnBrk="1">
        <a:lnSpc>
          <a:spcPct val="130000"/>
        </a:lnSpc>
        <a:spcBef>
          <a:spcPct val="0"/>
        </a:spcBef>
        <a:spcAft>
          <a:spcPct val="0"/>
        </a:spcAft>
        <a:buFont typeface="Wingdings" pitchFamily="2" charset="2"/>
        <a:buChar char="q"/>
        <a:defRPr kumimoji="1" sz="1400" b="1">
          <a:solidFill>
            <a:schemeClr val="tx1"/>
          </a:solidFill>
          <a:latin typeface="+mn-lt"/>
          <a:ea typeface="나눔고딕" panose="020D0604000000000000" pitchFamily="50" charset="-127"/>
          <a:cs typeface="+mn-cs"/>
        </a:defRPr>
      </a:lvl1pPr>
      <a:lvl2pPr marL="539750" indent="-179388" algn="l" rtl="0" fontAlgn="base" latinLnBrk="1">
        <a:lnSpc>
          <a:spcPct val="130000"/>
        </a:lnSpc>
        <a:spcBef>
          <a:spcPct val="0"/>
        </a:spcBef>
        <a:spcAft>
          <a:spcPct val="0"/>
        </a:spcAft>
        <a:buChar char="•"/>
        <a:defRPr kumimoji="1" sz="1200">
          <a:solidFill>
            <a:schemeClr val="tx1"/>
          </a:solidFill>
          <a:latin typeface="+mn-lt"/>
          <a:ea typeface="나눔고딕" panose="020D0604000000000000" pitchFamily="50" charset="-127"/>
        </a:defRPr>
      </a:lvl2pPr>
      <a:lvl3pPr marL="901700" indent="-182563" algn="l" rtl="0" fontAlgn="base" latinLnBrk="1">
        <a:lnSpc>
          <a:spcPct val="130000"/>
        </a:lnSpc>
        <a:spcBef>
          <a:spcPct val="0"/>
        </a:spcBef>
        <a:spcAft>
          <a:spcPct val="0"/>
        </a:spcAft>
        <a:buFont typeface="굴림" pitchFamily="50" charset="-127"/>
        <a:buChar char="-"/>
        <a:defRPr kumimoji="1" sz="1100">
          <a:solidFill>
            <a:schemeClr val="tx1"/>
          </a:solidFill>
          <a:latin typeface="+mn-lt"/>
          <a:ea typeface="나눔고딕" panose="020D0604000000000000" pitchFamily="50" charset="-127"/>
        </a:defRPr>
      </a:lvl3pPr>
      <a:lvl4pPr marL="1600200" indent="-228600" algn="l" rtl="0" fontAlgn="base" latinLnBrk="1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굴림" pitchFamily="50" charset="-127"/>
          <a:ea typeface="굴림" pitchFamily="50" charset="-127"/>
        </a:defRPr>
      </a:lvl4pPr>
      <a:lvl5pPr marL="20574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굴림" pitchFamily="50" charset="-127"/>
          <a:ea typeface="굴림" pitchFamily="50" charset="-127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굴림" pitchFamily="50" charset="-127"/>
          <a:ea typeface="굴림" pitchFamily="50" charset="-127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굴림" pitchFamily="50" charset="-127"/>
          <a:ea typeface="굴림" pitchFamily="50" charset="-127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굴림" pitchFamily="50" charset="-127"/>
          <a:ea typeface="굴림" pitchFamily="50" charset="-127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굴림" pitchFamily="50" charset="-127"/>
          <a:ea typeface="굴림" pitchFamily="50" charset="-127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7341981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2" name="개체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BodyText"/>
          <p:cNvSpPr>
            <a:spLocks noGrp="1" noChangeArrowheads="1"/>
          </p:cNvSpPr>
          <p:nvPr>
            <p:ph type="body" idx="1"/>
            <p:custDataLst>
              <p:tags r:id="rId5"/>
            </p:custDataLst>
          </p:nvPr>
        </p:nvSpPr>
        <p:spPr bwMode="gray">
          <a:xfrm>
            <a:off x="291862" y="836712"/>
            <a:ext cx="9341658" cy="56166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45" name="Copyrigh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492941" y="6534150"/>
            <a:ext cx="2988666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/>
          <a:p>
            <a:pPr fontAlgn="base" latinLnBrk="0">
              <a:spcBef>
                <a:spcPct val="50000"/>
              </a:spcBef>
              <a:spcAft>
                <a:spcPct val="0"/>
              </a:spcAft>
            </a:pPr>
            <a:r>
              <a:rPr lang="en-US" sz="700">
                <a:solidFill>
                  <a:srgbClr val="7C848A"/>
                </a:solidFill>
                <a:cs typeface="Arial" charset="0"/>
                <a:sym typeface="Arial"/>
              </a:rPr>
              <a:t>© OLI Scenario 386</a:t>
            </a:r>
          </a:p>
        </p:txBody>
      </p:sp>
      <p:sp>
        <p:nvSpPr>
          <p:cNvPr id="1052" name="Date" hidden="1"/>
          <p:cNvSpPr>
            <a:spLocks noGrp="1" noChangeArrowheads="1"/>
          </p:cNvSpPr>
          <p:nvPr>
            <p:ph type="dt" sz="half" idx="2"/>
            <p:custDataLst>
              <p:tags r:id="rId7"/>
            </p:custDataLst>
          </p:nvPr>
        </p:nvSpPr>
        <p:spPr bwMode="gray">
          <a:xfrm>
            <a:off x="4397052" y="6532791"/>
            <a:ext cx="1113585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spcBef>
                <a:spcPct val="50000"/>
              </a:spcBef>
              <a:defRPr sz="700">
                <a:solidFill>
                  <a:srgbClr val="7C848A"/>
                </a:solidFill>
                <a:cs typeface="+mn-cs"/>
                <a:sym typeface="Arial"/>
              </a:defRPr>
            </a:lvl1pPr>
          </a:lstStyle>
          <a:p>
            <a:pPr algn="ctr" fontAlgn="base" latinLnBrk="0">
              <a:spcAft>
                <a:spcPct val="0"/>
              </a:spcAft>
            </a:pPr>
            <a:endParaRPr lang="en-US"/>
          </a:p>
        </p:txBody>
      </p:sp>
      <p:sp>
        <p:nvSpPr>
          <p:cNvPr id="7" name="Line 2"/>
          <p:cNvSpPr>
            <a:spLocks noChangeShapeType="1"/>
          </p:cNvSpPr>
          <p:nvPr userDrawn="1"/>
        </p:nvSpPr>
        <p:spPr bwMode="auto">
          <a:xfrm flipV="1">
            <a:off x="271497" y="610551"/>
            <a:ext cx="9362023" cy="0"/>
          </a:xfrm>
          <a:prstGeom prst="line">
            <a:avLst/>
          </a:prstGeom>
          <a:noFill/>
          <a:ln w="12700">
            <a:solidFill>
              <a:schemeClr val="tx1">
                <a:lumMod val="75000"/>
                <a:lumOff val="25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000">
              <a:ln w="38100">
                <a:solidFill>
                  <a:schemeClr val="tx1"/>
                </a:solidFill>
              </a:ln>
              <a:solidFill>
                <a:srgbClr val="000000"/>
              </a:solidFill>
            </a:endParaRPr>
          </a:p>
        </p:txBody>
      </p:sp>
      <p:sp>
        <p:nvSpPr>
          <p:cNvPr id="3" name="제목 개체 틀 2"/>
          <p:cNvSpPr>
            <a:spLocks noGrp="1"/>
          </p:cNvSpPr>
          <p:nvPr>
            <p:ph type="title"/>
          </p:nvPr>
        </p:nvSpPr>
        <p:spPr>
          <a:xfrm>
            <a:off x="290169" y="152064"/>
            <a:ext cx="8543925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4"/>
          </p:nvPr>
        </p:nvSpPr>
        <p:spPr>
          <a:xfrm>
            <a:off x="9444928" y="6597352"/>
            <a:ext cx="428650" cy="23436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CB0F92F-3965-4F34-B7FF-419C6FA1D5AF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2482154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99" r:id="rId2"/>
  </p:sldLayoutIdLst>
  <p:hf hdr="0" ftr="0" dt="0"/>
  <p:txStyles>
    <p:titleStyle>
      <a:lvl1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HY견고딕" panose="02030600000101010101" pitchFamily="18" charset="-127"/>
          <a:ea typeface="HY견고딕" panose="02030600000101010101" pitchFamily="18" charset="-127"/>
          <a:cs typeface="+mj-cs"/>
          <a:sym typeface="Arial"/>
        </a:defRPr>
      </a:lvl1pPr>
      <a:lvl2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9pPr>
    </p:titleStyle>
    <p:bodyStyle>
      <a:lvl1pPr marL="265113" indent="-265113" algn="l" rtl="0" eaLnBrk="1" fontAlgn="base" hangingPunct="1">
        <a:lnSpc>
          <a:spcPts val="1800"/>
        </a:lnSpc>
        <a:spcBef>
          <a:spcPts val="300"/>
        </a:spcBef>
        <a:spcAft>
          <a:spcPts val="300"/>
        </a:spcAft>
        <a:buFont typeface="맑은 고딕" panose="020B0503020000020004" pitchFamily="50" charset="-127"/>
        <a:buChar char="▣"/>
        <a:defRPr sz="1400" b="1">
          <a:solidFill>
            <a:schemeClr val="tx1"/>
          </a:solidFill>
          <a:latin typeface="+mn-lt"/>
          <a:ea typeface="+mn-ea"/>
          <a:cs typeface="+mn-cs"/>
          <a:sym typeface="Arial"/>
        </a:defRPr>
      </a:lvl1pPr>
      <a:lvl2pPr marL="539750" indent="-258763" algn="l" rtl="0" eaLnBrk="1" fontAlgn="base" hangingPunct="1">
        <a:lnSpc>
          <a:spcPts val="1800"/>
        </a:lnSpc>
        <a:spcBef>
          <a:spcPts val="300"/>
        </a:spcBef>
        <a:spcAft>
          <a:spcPts val="300"/>
        </a:spcAft>
        <a:buFont typeface="Wingdings" panose="05000000000000000000" pitchFamily="2" charset="2"/>
        <a:buChar char="l"/>
        <a:defRPr sz="1400">
          <a:solidFill>
            <a:schemeClr val="tx1"/>
          </a:solidFill>
          <a:latin typeface="+mn-lt"/>
          <a:cs typeface="+mn-cs"/>
          <a:sym typeface="Arial"/>
        </a:defRPr>
      </a:lvl2pPr>
      <a:lvl3pPr marL="712788" indent="-171450" algn="l" rtl="0" eaLnBrk="1" fontAlgn="base" hangingPunct="1">
        <a:lnSpc>
          <a:spcPts val="1800"/>
        </a:lnSpc>
        <a:spcBef>
          <a:spcPts val="300"/>
        </a:spcBef>
        <a:spcAft>
          <a:spcPts val="300"/>
        </a:spcAft>
        <a:buFont typeface="Wingdings" panose="05000000000000000000" pitchFamily="2" charset="2"/>
        <a:buChar char="§"/>
        <a:defRPr sz="1400">
          <a:solidFill>
            <a:schemeClr val="tx1"/>
          </a:solidFill>
          <a:latin typeface="+mn-lt"/>
          <a:cs typeface="+mn-cs"/>
          <a:sym typeface="Arial"/>
        </a:defRPr>
      </a:lvl3pPr>
      <a:lvl4pPr marL="987425" indent="-182563" algn="l" rtl="0" eaLnBrk="1" fontAlgn="base" hangingPunct="1">
        <a:lnSpc>
          <a:spcPts val="18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•"/>
        <a:defRPr sz="1400">
          <a:solidFill>
            <a:schemeClr val="tx1"/>
          </a:solidFill>
          <a:latin typeface="+mn-lt"/>
          <a:cs typeface="+mn-cs"/>
          <a:sym typeface="Arial"/>
        </a:defRPr>
      </a:lvl4pPr>
      <a:lvl5pPr marL="1162050" indent="-173038" algn="l" rtl="0" eaLnBrk="1" fontAlgn="base" hangingPunct="1">
        <a:lnSpc>
          <a:spcPts val="1800"/>
        </a:lnSpc>
        <a:spcBef>
          <a:spcPts val="300"/>
        </a:spcBef>
        <a:spcAft>
          <a:spcPts val="300"/>
        </a:spcAft>
        <a:buFont typeface="Arial" charset="0"/>
        <a:buChar char="-"/>
        <a:defRPr sz="1400">
          <a:solidFill>
            <a:schemeClr val="tx1"/>
          </a:solidFill>
          <a:latin typeface="+mn-lt"/>
          <a:cs typeface="+mn-cs"/>
          <a:sym typeface="Arial"/>
        </a:defRPr>
      </a:lvl5pPr>
      <a:lvl6pPr marL="13160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6pPr>
      <a:lvl7pPr marL="17732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7pPr>
      <a:lvl8pPr marL="22304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8pPr>
      <a:lvl9pPr marL="26876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120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39092" y="87830"/>
            <a:ext cx="9245631" cy="455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/>
              <a:t>마스터 제목 스타일 편집</a:t>
            </a:r>
          </a:p>
        </p:txBody>
      </p:sp>
      <p:sp>
        <p:nvSpPr>
          <p:cNvPr id="21509" name="Rectangle 5"/>
          <p:cNvSpPr>
            <a:spLocks noGrp="1" noChangeArrowheads="1"/>
          </p:cNvSpPr>
          <p:nvPr>
            <p:ph type="body" idx="1"/>
          </p:nvPr>
        </p:nvSpPr>
        <p:spPr bwMode="auto">
          <a:xfrm>
            <a:off x="244300" y="785794"/>
            <a:ext cx="9402134" cy="5715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슬라이드 번호 개체 틀 4"/>
          <p:cNvSpPr txBox="1">
            <a:spLocks/>
          </p:cNvSpPr>
          <p:nvPr userDrawn="1"/>
        </p:nvSpPr>
        <p:spPr>
          <a:xfrm>
            <a:off x="9129464" y="6597354"/>
            <a:ext cx="704528" cy="236821"/>
          </a:xfrm>
          <a:prstGeom prst="rect">
            <a:avLst/>
          </a:prstGeom>
        </p:spPr>
        <p:txBody>
          <a:bodyPr lIns="32659" tIns="32659" rIns="32659" bIns="32659" anchor="ctr"/>
          <a:lstStyle>
            <a:lvl1pPr algn="ctr">
              <a:defRPr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</a:lstStyle>
          <a:p>
            <a:pPr algn="r">
              <a:defRPr/>
            </a:pPr>
            <a:endParaRPr lang="ko-KR" altLang="en-US" sz="907">
              <a:solidFill>
                <a:srgbClr val="000000"/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9201472" y="6624513"/>
            <a:ext cx="704528" cy="233773"/>
          </a:xfrm>
          <a:prstGeom prst="rect">
            <a:avLst/>
          </a:prstGeom>
        </p:spPr>
        <p:txBody>
          <a:bodyPr/>
          <a:lstStyle>
            <a:lvl1pPr algn="r">
              <a:defRPr sz="907"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defRPr>
            </a:lvl1pPr>
          </a:lstStyle>
          <a:p>
            <a:fld id="{72EC6EA6-60A6-4E9A-BA8E-F1C90815A9AE}" type="slidenum">
              <a:rPr lang="ko-KR" altLang="en-US" smtClean="0"/>
              <a:pPr/>
              <a:t>‹#›</a:t>
            </a:fld>
            <a:r>
              <a:rPr lang="en-US" altLang="ko-KR"/>
              <a:t>/8</a:t>
            </a:r>
          </a:p>
        </p:txBody>
      </p:sp>
      <p:sp>
        <p:nvSpPr>
          <p:cNvPr id="7" name="Line 2"/>
          <p:cNvSpPr>
            <a:spLocks noChangeShapeType="1"/>
          </p:cNvSpPr>
          <p:nvPr userDrawn="1"/>
        </p:nvSpPr>
        <p:spPr bwMode="auto">
          <a:xfrm flipV="1">
            <a:off x="216189" y="610551"/>
            <a:ext cx="9430245" cy="0"/>
          </a:xfrm>
          <a:prstGeom prst="line">
            <a:avLst/>
          </a:prstGeom>
          <a:noFill/>
          <a:ln w="19050">
            <a:solidFill>
              <a:srgbClr val="92929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7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34099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6" r:id="rId2"/>
    <p:sldLayoutId id="2147483667" r:id="rId3"/>
  </p:sldLayoutIdLst>
  <p:transition/>
  <p:hf hdr="0" ftr="0" dt="0"/>
  <p:txStyles>
    <p:titleStyle>
      <a:lvl1pPr algn="l" rtl="0" eaLnBrk="1" fontAlgn="base" latinLnBrk="1" hangingPunct="1">
        <a:spcBef>
          <a:spcPct val="0"/>
        </a:spcBef>
        <a:spcAft>
          <a:spcPct val="0"/>
        </a:spcAft>
        <a:defRPr kumimoji="1" sz="2177">
          <a:solidFill>
            <a:srgbClr val="000066"/>
          </a:solidFill>
          <a:latin typeface="+mj-lt"/>
          <a:ea typeface="+mj-ea"/>
          <a:cs typeface="+mj-cs"/>
        </a:defRPr>
      </a:lvl1pPr>
      <a:lvl2pPr algn="l" rtl="0" eaLnBrk="1" fontAlgn="base" latinLnBrk="1" hangingPunct="1">
        <a:spcBef>
          <a:spcPct val="0"/>
        </a:spcBef>
        <a:spcAft>
          <a:spcPct val="0"/>
        </a:spcAft>
        <a:defRPr kumimoji="1" sz="1814">
          <a:solidFill>
            <a:srgbClr val="000066"/>
          </a:solidFill>
          <a:latin typeface="Arial Black" pitchFamily="34" charset="0"/>
          <a:ea typeface="휴먼둥근헤드라인" pitchFamily="18" charset="-127"/>
        </a:defRPr>
      </a:lvl2pPr>
      <a:lvl3pPr algn="l" rtl="0" eaLnBrk="1" fontAlgn="base" latinLnBrk="1" hangingPunct="1">
        <a:spcBef>
          <a:spcPct val="0"/>
        </a:spcBef>
        <a:spcAft>
          <a:spcPct val="0"/>
        </a:spcAft>
        <a:defRPr kumimoji="1" sz="1814">
          <a:solidFill>
            <a:srgbClr val="000066"/>
          </a:solidFill>
          <a:latin typeface="Arial Black" pitchFamily="34" charset="0"/>
          <a:ea typeface="휴먼둥근헤드라인" pitchFamily="18" charset="-127"/>
        </a:defRPr>
      </a:lvl3pPr>
      <a:lvl4pPr algn="l" rtl="0" eaLnBrk="1" fontAlgn="base" latinLnBrk="1" hangingPunct="1">
        <a:spcBef>
          <a:spcPct val="0"/>
        </a:spcBef>
        <a:spcAft>
          <a:spcPct val="0"/>
        </a:spcAft>
        <a:defRPr kumimoji="1" sz="1814">
          <a:solidFill>
            <a:srgbClr val="000066"/>
          </a:solidFill>
          <a:latin typeface="Arial Black" pitchFamily="34" charset="0"/>
          <a:ea typeface="휴먼둥근헤드라인" pitchFamily="18" charset="-127"/>
        </a:defRPr>
      </a:lvl4pPr>
      <a:lvl5pPr algn="l" rtl="0" eaLnBrk="1" fontAlgn="base" latinLnBrk="1" hangingPunct="1">
        <a:spcBef>
          <a:spcPct val="0"/>
        </a:spcBef>
        <a:spcAft>
          <a:spcPct val="0"/>
        </a:spcAft>
        <a:defRPr kumimoji="1" sz="1814">
          <a:solidFill>
            <a:srgbClr val="000066"/>
          </a:solidFill>
          <a:latin typeface="Arial Black" pitchFamily="34" charset="0"/>
          <a:ea typeface="휴먼둥근헤드라인" pitchFamily="18" charset="-127"/>
        </a:defRPr>
      </a:lvl5pPr>
      <a:lvl6pPr marL="414772" algn="l" rtl="0" eaLnBrk="1" fontAlgn="base" latinLnBrk="1" hangingPunct="1">
        <a:spcBef>
          <a:spcPct val="0"/>
        </a:spcBef>
        <a:spcAft>
          <a:spcPct val="0"/>
        </a:spcAft>
        <a:defRPr kumimoji="1" sz="1814">
          <a:solidFill>
            <a:srgbClr val="000066"/>
          </a:solidFill>
          <a:latin typeface="Arial Black" pitchFamily="34" charset="0"/>
          <a:ea typeface="휴먼둥근헤드라인" pitchFamily="18" charset="-127"/>
        </a:defRPr>
      </a:lvl6pPr>
      <a:lvl7pPr marL="829544" algn="l" rtl="0" eaLnBrk="1" fontAlgn="base" latinLnBrk="1" hangingPunct="1">
        <a:spcBef>
          <a:spcPct val="0"/>
        </a:spcBef>
        <a:spcAft>
          <a:spcPct val="0"/>
        </a:spcAft>
        <a:defRPr kumimoji="1" sz="1814">
          <a:solidFill>
            <a:srgbClr val="000066"/>
          </a:solidFill>
          <a:latin typeface="Arial Black" pitchFamily="34" charset="0"/>
          <a:ea typeface="휴먼둥근헤드라인" pitchFamily="18" charset="-127"/>
        </a:defRPr>
      </a:lvl7pPr>
      <a:lvl8pPr marL="1244316" algn="l" rtl="0" eaLnBrk="1" fontAlgn="base" latinLnBrk="1" hangingPunct="1">
        <a:spcBef>
          <a:spcPct val="0"/>
        </a:spcBef>
        <a:spcAft>
          <a:spcPct val="0"/>
        </a:spcAft>
        <a:defRPr kumimoji="1" sz="1814">
          <a:solidFill>
            <a:srgbClr val="000066"/>
          </a:solidFill>
          <a:latin typeface="Arial Black" pitchFamily="34" charset="0"/>
          <a:ea typeface="휴먼둥근헤드라인" pitchFamily="18" charset="-127"/>
        </a:defRPr>
      </a:lvl8pPr>
      <a:lvl9pPr marL="1659087" algn="l" rtl="0" eaLnBrk="1" fontAlgn="base" latinLnBrk="1" hangingPunct="1">
        <a:spcBef>
          <a:spcPct val="0"/>
        </a:spcBef>
        <a:spcAft>
          <a:spcPct val="0"/>
        </a:spcAft>
        <a:defRPr kumimoji="1" sz="1814">
          <a:solidFill>
            <a:srgbClr val="000066"/>
          </a:solidFill>
          <a:latin typeface="Arial Black" pitchFamily="34" charset="0"/>
          <a:ea typeface="휴먼둥근헤드라인" pitchFamily="18" charset="-127"/>
        </a:defRPr>
      </a:lvl9pPr>
    </p:titleStyle>
    <p:bodyStyle>
      <a:lvl1pPr marL="249152" indent="-249152" algn="l" rtl="0" eaLnBrk="1" fontAlgn="base" latinLnBrk="1" hangingPunct="1">
        <a:lnSpc>
          <a:spcPct val="125000"/>
        </a:lnSpc>
        <a:spcBef>
          <a:spcPct val="20000"/>
        </a:spcBef>
        <a:spcAft>
          <a:spcPct val="10000"/>
        </a:spcAft>
        <a:buFont typeface="Wingdings" pitchFamily="2" charset="2"/>
        <a:buChar char="q"/>
        <a:defRPr kumimoji="1" sz="1270" b="1">
          <a:solidFill>
            <a:schemeClr val="tx1"/>
          </a:solidFill>
          <a:latin typeface="맑은 고딕" pitchFamily="50" charset="-127"/>
          <a:ea typeface="맑은 고딕" pitchFamily="50" charset="-127"/>
          <a:cs typeface="+mn-cs"/>
        </a:defRPr>
      </a:lvl1pPr>
      <a:lvl2pPr marL="567431" indent="-239070" algn="l" rtl="0" eaLnBrk="1" fontAlgn="base" latinLnBrk="1" hangingPunct="1">
        <a:lnSpc>
          <a:spcPct val="125000"/>
        </a:lnSpc>
        <a:spcBef>
          <a:spcPct val="20000"/>
        </a:spcBef>
        <a:spcAft>
          <a:spcPct val="10000"/>
        </a:spcAft>
        <a:buFont typeface="Wingdings" pitchFamily="2" charset="2"/>
        <a:buChar char="l"/>
        <a:defRPr kumimoji="1" sz="1270">
          <a:solidFill>
            <a:schemeClr val="tx1"/>
          </a:solidFill>
          <a:latin typeface="맑은 고딕" pitchFamily="50" charset="-127"/>
          <a:ea typeface="맑은 고딕" pitchFamily="50" charset="-127"/>
        </a:defRPr>
      </a:lvl2pPr>
      <a:lvl3pPr marL="815142" indent="-207386" algn="l" rtl="0" eaLnBrk="1" fontAlgn="base" latinLnBrk="1" hangingPunct="1">
        <a:lnSpc>
          <a:spcPct val="125000"/>
        </a:lnSpc>
        <a:spcBef>
          <a:spcPct val="20000"/>
        </a:spcBef>
        <a:spcAft>
          <a:spcPct val="10000"/>
        </a:spcAft>
        <a:buFont typeface="Wingdings" pitchFamily="2" charset="2"/>
        <a:buChar char="§"/>
        <a:defRPr kumimoji="1" sz="1270">
          <a:solidFill>
            <a:schemeClr val="tx1"/>
          </a:solidFill>
          <a:latin typeface="맑은 고딕" pitchFamily="50" charset="-127"/>
          <a:ea typeface="맑은 고딕" pitchFamily="50" charset="-127"/>
        </a:defRPr>
      </a:lvl3pPr>
      <a:lvl4pPr marL="1055652" indent="-207386" algn="l" rtl="0" eaLnBrk="1" fontAlgn="base" latinLnBrk="1" hangingPunct="1">
        <a:lnSpc>
          <a:spcPct val="125000"/>
        </a:lnSpc>
        <a:spcBef>
          <a:spcPct val="20000"/>
        </a:spcBef>
        <a:spcAft>
          <a:spcPct val="10000"/>
        </a:spcAft>
        <a:buChar char="•"/>
        <a:defRPr kumimoji="1" sz="1270">
          <a:solidFill>
            <a:schemeClr val="tx1"/>
          </a:solidFill>
          <a:latin typeface="맑은 고딕" pitchFamily="50" charset="-127"/>
          <a:ea typeface="맑은 고딕" pitchFamily="50" charset="-127"/>
        </a:defRPr>
      </a:lvl4pPr>
      <a:lvl5pPr marL="1304803" indent="-207386" algn="l" rtl="0" eaLnBrk="1" fontAlgn="base" latinLnBrk="1" hangingPunct="1">
        <a:lnSpc>
          <a:spcPct val="125000"/>
        </a:lnSpc>
        <a:spcBef>
          <a:spcPct val="20000"/>
        </a:spcBef>
        <a:spcAft>
          <a:spcPct val="10000"/>
        </a:spcAft>
        <a:buFont typeface="Arial" charset="0"/>
        <a:buChar char="­"/>
        <a:defRPr kumimoji="1" sz="1270">
          <a:solidFill>
            <a:schemeClr val="tx1"/>
          </a:solidFill>
          <a:latin typeface="맑은 고딕" pitchFamily="50" charset="-127"/>
          <a:ea typeface="맑은 고딕" pitchFamily="50" charset="-127"/>
        </a:defRPr>
      </a:lvl5pPr>
      <a:lvl6pPr marL="2176112" indent="-207386" algn="l" rtl="0" eaLnBrk="1" fontAlgn="base" latinLnBrk="1" hangingPunct="1">
        <a:lnSpc>
          <a:spcPct val="115000"/>
        </a:lnSpc>
        <a:spcBef>
          <a:spcPct val="20000"/>
        </a:spcBef>
        <a:spcAft>
          <a:spcPct val="10000"/>
        </a:spcAft>
        <a:buFont typeface="Arial" charset="0"/>
        <a:buChar char="­"/>
        <a:defRPr kumimoji="1" sz="1270">
          <a:solidFill>
            <a:schemeClr val="tx1"/>
          </a:solidFill>
          <a:latin typeface="+mn-lt"/>
          <a:ea typeface="+mn-ea"/>
        </a:defRPr>
      </a:lvl6pPr>
      <a:lvl7pPr marL="2590884" indent="-207386" algn="l" rtl="0" eaLnBrk="1" fontAlgn="base" latinLnBrk="1" hangingPunct="1">
        <a:lnSpc>
          <a:spcPct val="115000"/>
        </a:lnSpc>
        <a:spcBef>
          <a:spcPct val="20000"/>
        </a:spcBef>
        <a:spcAft>
          <a:spcPct val="10000"/>
        </a:spcAft>
        <a:buFont typeface="Arial" charset="0"/>
        <a:buChar char="­"/>
        <a:defRPr kumimoji="1" sz="1270">
          <a:solidFill>
            <a:schemeClr val="tx1"/>
          </a:solidFill>
          <a:latin typeface="+mn-lt"/>
          <a:ea typeface="+mn-ea"/>
        </a:defRPr>
      </a:lvl7pPr>
      <a:lvl8pPr marL="3005656" indent="-207386" algn="l" rtl="0" eaLnBrk="1" fontAlgn="base" latinLnBrk="1" hangingPunct="1">
        <a:lnSpc>
          <a:spcPct val="115000"/>
        </a:lnSpc>
        <a:spcBef>
          <a:spcPct val="20000"/>
        </a:spcBef>
        <a:spcAft>
          <a:spcPct val="10000"/>
        </a:spcAft>
        <a:buFont typeface="Arial" charset="0"/>
        <a:buChar char="­"/>
        <a:defRPr kumimoji="1" sz="1270">
          <a:solidFill>
            <a:schemeClr val="tx1"/>
          </a:solidFill>
          <a:latin typeface="+mn-lt"/>
          <a:ea typeface="+mn-ea"/>
        </a:defRPr>
      </a:lvl8pPr>
      <a:lvl9pPr marL="3420428" indent="-207386" algn="l" rtl="0" eaLnBrk="1" fontAlgn="base" latinLnBrk="1" hangingPunct="1">
        <a:lnSpc>
          <a:spcPct val="115000"/>
        </a:lnSpc>
        <a:spcBef>
          <a:spcPct val="20000"/>
        </a:spcBef>
        <a:spcAft>
          <a:spcPct val="10000"/>
        </a:spcAft>
        <a:buFont typeface="Arial" charset="0"/>
        <a:buChar char="­"/>
        <a:defRPr kumimoji="1" sz="127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1pPr>
      <a:lvl2pPr marL="414772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2pPr>
      <a:lvl3pPr marL="829544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3pPr>
      <a:lvl4pPr marL="1244316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4pPr>
      <a:lvl5pPr marL="1659087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5pPr>
      <a:lvl6pPr marL="2073859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6pPr>
      <a:lvl7pPr marL="2488631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7pPr>
      <a:lvl8pPr marL="2903403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8pPr>
      <a:lvl9pPr marL="3318175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.xml"/><Relationship Id="rId6" Type="http://schemas.openxmlformats.org/officeDocument/2006/relationships/chart" Target="../charts/chart1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01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개체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1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직사각형 27">
            <a:extLst>
              <a:ext uri="{FF2B5EF4-FFF2-40B4-BE49-F238E27FC236}">
                <a16:creationId xmlns:a16="http://schemas.microsoft.com/office/drawing/2014/main" id="{AB08AD98-79DF-468E-9B34-A36ED3250F3C}"/>
              </a:ext>
            </a:extLst>
          </p:cNvPr>
          <p:cNvSpPr/>
          <p:nvPr/>
        </p:nvSpPr>
        <p:spPr>
          <a:xfrm>
            <a:off x="488515" y="247550"/>
            <a:ext cx="5144534" cy="330540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Ⅰ. </a:t>
            </a:r>
            <a:r>
              <a: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경영 전략 </a:t>
            </a:r>
            <a:r>
              <a:rPr kumimoji="0" lang="en-US" altLang="ko-KR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– </a:t>
            </a:r>
            <a:r>
              <a:rPr kumimoji="0" lang="ko-KR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경쟁력 있는 열원 확보</a:t>
            </a:r>
            <a:endParaRPr kumimoji="0" lang="en-US" altLang="ko-KR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35" name="직사각형 34">
            <a:extLst>
              <a:ext uri="{FF2B5EF4-FFF2-40B4-BE49-F238E27FC236}">
                <a16:creationId xmlns:a16="http://schemas.microsoft.com/office/drawing/2014/main" id="{1903AE91-03CD-42E1-98AF-A9C43BFE64F1}"/>
              </a:ext>
            </a:extLst>
          </p:cNvPr>
          <p:cNvSpPr/>
          <p:nvPr/>
        </p:nvSpPr>
        <p:spPr>
          <a:xfrm>
            <a:off x="555149" y="850704"/>
            <a:ext cx="116302" cy="329387"/>
          </a:xfrm>
          <a:prstGeom prst="rect">
            <a:avLst/>
          </a:prstGeom>
          <a:solidFill>
            <a:srgbClr val="0D6E6E"/>
          </a:solidFill>
          <a:ln w="12700" algn="ctr">
            <a:noFill/>
            <a:miter lim="800000"/>
            <a:headEnd/>
            <a:tailEnd/>
          </a:ln>
          <a:effectLst/>
        </p:spPr>
        <p:txBody>
          <a:bodyPr vert="horz" lIns="72000" rIns="36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3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47" name="직사각형 46"/>
          <p:cNvSpPr/>
          <p:nvPr/>
        </p:nvSpPr>
        <p:spPr>
          <a:xfrm>
            <a:off x="648944" y="850704"/>
            <a:ext cx="1848583" cy="307777"/>
          </a:xfrm>
          <a:prstGeom prst="rect">
            <a:avLst/>
          </a:prstGeom>
        </p:spPr>
        <p:txBody>
          <a:bodyPr wrap="none" lIns="91440" tIns="45720" rIns="91440" bIns="45720" anchor="t">
            <a:spAutoFit/>
          </a:bodyPr>
          <a:lstStyle/>
          <a:p>
            <a:pPr>
              <a:defRPr/>
            </a:pPr>
            <a:r>
              <a:rPr kumimoji="0" lang="ko-KR" altLang="en-US" sz="1400" b="1" i="0" u="none" strike="noStrike" kern="1200" cap="none" spc="0" normalizeH="0" baseline="0" noProof="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미활용</a:t>
            </a:r>
            <a:r>
              <a:rPr lang="ko-KR" altLang="en-US" sz="1400" b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 저가 </a:t>
            </a:r>
            <a:r>
              <a:rPr kumimoji="0" lang="ko-KR" altLang="en-US" sz="14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열원 개발</a:t>
            </a:r>
            <a:endParaRPr lang="ko-KR" altLang="en-US" sz="1400" b="1" i="0" u="none" strike="noStrike" kern="1200" cap="none" spc="0" normalizeH="0" baseline="0" noProof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0000"/>
              </a:solidFill>
              <a:effectLst/>
              <a:uLnTx/>
              <a:uFillTx/>
              <a:latin typeface="나눔고딕"/>
              <a:ea typeface="나눔고딕"/>
              <a:cs typeface="Arial"/>
            </a:endParaRPr>
          </a:p>
        </p:txBody>
      </p:sp>
      <p:sp>
        <p:nvSpPr>
          <p:cNvPr id="69" name="직사각형 68"/>
          <p:cNvSpPr/>
          <p:nvPr/>
        </p:nvSpPr>
        <p:spPr>
          <a:xfrm>
            <a:off x="435763" y="1235909"/>
            <a:ext cx="6069472" cy="312650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292100" lvl="1" indent="-112395">
              <a:lnSpc>
                <a:spcPct val="150000"/>
              </a:lnSpc>
              <a:buFont typeface="Wingdings" panose="05000000000000000000" pitchFamily="2" charset="2"/>
              <a:buChar char="§"/>
              <a:defRPr/>
            </a:pPr>
            <a:r>
              <a:rPr lang="en-US" altLang="ko-KR" sz="110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저가</a:t>
            </a:r>
            <a:r>
              <a:rPr kumimoji="0" lang="ko-KR" altLang="en-US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 열원 </a:t>
            </a:r>
            <a:r>
              <a:rPr kumimoji="0" lang="en-US" altLang="ko-KR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2</a:t>
            </a:r>
            <a:r>
              <a:rPr kumimoji="0" lang="ko-KR" altLang="en-US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건 추가 확보 및 열 생산원가 절감</a:t>
            </a:r>
            <a:r>
              <a:rPr lang="ko-KR" altLang="en-US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3200FF"/>
                </a:solidFill>
                <a:latin typeface="나눔고딕"/>
                <a:ea typeface="나눔고딕"/>
                <a:cs typeface="Arial"/>
              </a:rPr>
              <a:t> </a:t>
            </a:r>
            <a:endParaRPr lang="en-US" altLang="ko-KR"/>
          </a:p>
        </p:txBody>
      </p:sp>
      <p:cxnSp>
        <p:nvCxnSpPr>
          <p:cNvPr id="83" name="직선 연결선 82"/>
          <p:cNvCxnSpPr/>
          <p:nvPr/>
        </p:nvCxnSpPr>
        <p:spPr>
          <a:xfrm>
            <a:off x="581130" y="1171758"/>
            <a:ext cx="2078936" cy="0"/>
          </a:xfrm>
          <a:prstGeom prst="line">
            <a:avLst/>
          </a:prstGeom>
          <a:ln w="12700">
            <a:solidFill>
              <a:srgbClr val="0D6E6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화살표: 갈매기형 수장 92">
            <a:extLst>
              <a:ext uri="{FF2B5EF4-FFF2-40B4-BE49-F238E27FC236}">
                <a16:creationId xmlns:a16="http://schemas.microsoft.com/office/drawing/2014/main" id="{6C93FBEA-3FFB-F5BD-57E1-70B07F22735E}"/>
              </a:ext>
            </a:extLst>
          </p:cNvPr>
          <p:cNvSpPr/>
          <p:nvPr/>
        </p:nvSpPr>
        <p:spPr>
          <a:xfrm>
            <a:off x="3325218" y="2527611"/>
            <a:ext cx="309377" cy="411059"/>
          </a:xfrm>
          <a:prstGeom prst="chevron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HY헤드라인M"/>
              <a:cs typeface="+mn-cs"/>
            </a:endParaRPr>
          </a:p>
        </p:txBody>
      </p:sp>
      <p:sp>
        <p:nvSpPr>
          <p:cNvPr id="26" name="직사각형 25">
            <a:extLst>
              <a:ext uri="{FF2B5EF4-FFF2-40B4-BE49-F238E27FC236}">
                <a16:creationId xmlns:a16="http://schemas.microsoft.com/office/drawing/2014/main" id="{1903AE91-03CD-42E1-98AF-A9C43BFE64F1}"/>
              </a:ext>
            </a:extLst>
          </p:cNvPr>
          <p:cNvSpPr/>
          <p:nvPr/>
        </p:nvSpPr>
        <p:spPr>
          <a:xfrm>
            <a:off x="557985" y="3806037"/>
            <a:ext cx="116302" cy="329387"/>
          </a:xfrm>
          <a:prstGeom prst="rect">
            <a:avLst/>
          </a:prstGeom>
          <a:solidFill>
            <a:srgbClr val="0D6E6E"/>
          </a:solidFill>
          <a:ln w="12700" algn="ctr">
            <a:noFill/>
            <a:miter lim="800000"/>
            <a:headEnd/>
            <a:tailEnd/>
          </a:ln>
          <a:effectLst/>
        </p:spPr>
        <p:txBody>
          <a:bodyPr vert="horz" lIns="72000" rIns="36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3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cxnSp>
        <p:nvCxnSpPr>
          <p:cNvPr id="27" name="직선 연결선 26"/>
          <p:cNvCxnSpPr/>
          <p:nvPr/>
        </p:nvCxnSpPr>
        <p:spPr>
          <a:xfrm>
            <a:off x="562480" y="4129074"/>
            <a:ext cx="1889942" cy="0"/>
          </a:xfrm>
          <a:prstGeom prst="line">
            <a:avLst/>
          </a:prstGeom>
          <a:ln w="12700">
            <a:solidFill>
              <a:srgbClr val="0D6E6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직사각형 28"/>
          <p:cNvSpPr/>
          <p:nvPr/>
        </p:nvSpPr>
        <p:spPr>
          <a:xfrm>
            <a:off x="648944" y="3806037"/>
            <a:ext cx="163057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4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charset="0"/>
              </a:rPr>
              <a:t>신규열원 건설 추진</a:t>
            </a:r>
          </a:p>
        </p:txBody>
      </p:sp>
      <p:sp>
        <p:nvSpPr>
          <p:cNvPr id="30" name="직사각형 29"/>
          <p:cNvSpPr/>
          <p:nvPr/>
        </p:nvSpPr>
        <p:spPr>
          <a:xfrm>
            <a:off x="435763" y="4185308"/>
            <a:ext cx="7181772" cy="570541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292100" lvl="1" indent="-112395">
              <a:lnSpc>
                <a:spcPct val="150000"/>
              </a:lnSpc>
              <a:buFont typeface="Wingdings" panose="05000000000000000000" pitchFamily="2" charset="2"/>
              <a:buChar char="§"/>
              <a:defRPr/>
            </a:pPr>
            <a:r>
              <a:rPr lang="ko-KR" altLang="en-US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공급 </a:t>
            </a:r>
            <a:r>
              <a:rPr kumimoji="0" lang="ko-KR" altLang="en-US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세대 및</a:t>
            </a:r>
            <a:r>
              <a:rPr kumimoji="0" lang="en-US" altLang="ko-KR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 </a:t>
            </a:r>
            <a:r>
              <a:rPr kumimoji="0" lang="ko-KR" altLang="en-US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대형 </a:t>
            </a:r>
            <a:r>
              <a:rPr kumimoji="0" lang="ko-KR" altLang="en-US" sz="1100" b="0" i="0" u="none" strike="noStrike" kern="1200" cap="none" spc="0" normalizeH="0" baseline="0" noProof="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수요처</a:t>
            </a:r>
            <a:r>
              <a:rPr kumimoji="0" lang="ko-KR" altLang="en-US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 증가로 열수요 증가 </a:t>
            </a:r>
            <a:r>
              <a:rPr kumimoji="0" lang="en-US" altLang="ko-KR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  <a:sym typeface="Wingdings" panose="05000000000000000000" pitchFamily="2" charset="2"/>
              </a:rPr>
              <a:t></a:t>
            </a:r>
            <a:r>
              <a:rPr kumimoji="0" lang="ko-KR" altLang="en-US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 </a:t>
            </a:r>
            <a: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'</a:t>
            </a:r>
            <a:r>
              <a:rPr kumimoji="0" lang="en-US" altLang="ko-KR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29</a:t>
            </a:r>
            <a:r>
              <a:rPr kumimoji="0" lang="ko-KR" altLang="en-US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년부터 열 부족 발생 </a:t>
            </a:r>
            <a:r>
              <a:rPr kumimoji="0" lang="en-US" altLang="ko-KR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(</a:t>
            </a:r>
            <a:r>
              <a:rPr kumimoji="0" lang="ko-KR" altLang="en-US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최대 </a:t>
            </a:r>
            <a:r>
              <a:rPr kumimoji="0" lang="en-US" altLang="ko-KR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256G/h)</a:t>
            </a:r>
            <a:endParaRPr lang="en-US">
              <a:latin typeface="나눔고딕"/>
              <a:ea typeface="나눔고딕"/>
              <a:cs typeface="Arial"/>
            </a:endParaRPr>
          </a:p>
          <a:p>
            <a:pPr marL="292100" lvl="1" indent="-112395">
              <a:lnSpc>
                <a:spcPct val="150000"/>
              </a:lnSpc>
              <a:buFont typeface="Wingdings" panose="05000000000000000000" pitchFamily="2" charset="2"/>
              <a:buChar char="§"/>
              <a:defRPr/>
            </a:pPr>
            <a:r>
              <a:rPr kumimoji="0" lang="ko-KR" altLang="en-US" sz="1100" b="0" i="0" u="none" strike="noStrike" kern="1200" cap="none" spc="0" normalizeH="0" baseline="0" noProof="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열공급</a:t>
            </a:r>
            <a:r>
              <a:rPr kumimoji="0" lang="ko-KR" altLang="en-US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 부족을 해소하기 위해서 </a:t>
            </a:r>
            <a:r>
              <a:rPr kumimoji="0" lang="en-US" altLang="ko-KR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500MW</a:t>
            </a:r>
            <a:r>
              <a:rPr kumimoji="0" lang="ko-KR" altLang="en-US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급 </a:t>
            </a:r>
            <a:r>
              <a:rPr kumimoji="0" lang="en-US" altLang="ko-KR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(260G/h)</a:t>
            </a:r>
            <a:r>
              <a:rPr kumimoji="0" lang="ko-KR" altLang="en-US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 신규 </a:t>
            </a:r>
            <a:r>
              <a:rPr kumimoji="0" lang="en-US" altLang="ko-KR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CHP </a:t>
            </a:r>
            <a:r>
              <a:rPr kumimoji="0" lang="ko-KR" altLang="en-US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건설 추진</a:t>
            </a:r>
            <a:endParaRPr lang="en-US" altLang="ko-KR" sz="1100" b="0" i="0" u="none" strike="noStrike" kern="1200" cap="none" spc="0" normalizeH="0" baseline="0" noProof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0000"/>
              </a:solidFill>
              <a:effectLst/>
              <a:uLnTx/>
              <a:uFillTx/>
              <a:latin typeface="나눔고딕"/>
              <a:ea typeface="나눔고딕"/>
              <a:cs typeface="Arial"/>
            </a:endParaRPr>
          </a:p>
        </p:txBody>
      </p:sp>
      <p:sp>
        <p:nvSpPr>
          <p:cNvPr id="6" name="사각형: 둥근 모서리 59">
            <a:extLst>
              <a:ext uri="{FF2B5EF4-FFF2-40B4-BE49-F238E27FC236}">
                <a16:creationId xmlns:a16="http://schemas.microsoft.com/office/drawing/2014/main" id="{61D141F6-4CC5-DB84-1F84-161EB2A117F8}"/>
              </a:ext>
            </a:extLst>
          </p:cNvPr>
          <p:cNvSpPr/>
          <p:nvPr/>
        </p:nvSpPr>
        <p:spPr>
          <a:xfrm>
            <a:off x="7949841" y="5551759"/>
            <a:ext cx="548057" cy="401980"/>
          </a:xfrm>
          <a:prstGeom prst="roundRect">
            <a:avLst>
              <a:gd name="adj" fmla="val 10966"/>
            </a:avLst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준공</a:t>
            </a:r>
            <a:endParaRPr kumimoji="0" lang="en-US" altLang="ko-KR" sz="1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cxnSp>
        <p:nvCxnSpPr>
          <p:cNvPr id="43" name="직선 연결선 42">
            <a:extLst>
              <a:ext uri="{FF2B5EF4-FFF2-40B4-BE49-F238E27FC236}">
                <a16:creationId xmlns:a16="http://schemas.microsoft.com/office/drawing/2014/main" id="{9AB29775-41D7-815B-7E6D-EC44DD2861EA}"/>
              </a:ext>
            </a:extLst>
          </p:cNvPr>
          <p:cNvCxnSpPr>
            <a:cxnSpLocks/>
          </p:cNvCxnSpPr>
          <p:nvPr/>
        </p:nvCxnSpPr>
        <p:spPr>
          <a:xfrm flipH="1">
            <a:off x="1127469" y="5374194"/>
            <a:ext cx="7191636" cy="0"/>
          </a:xfrm>
          <a:prstGeom prst="line">
            <a:avLst/>
          </a:prstGeom>
          <a:noFill/>
          <a:ln w="57150" cap="flat" cmpd="sng" algn="ctr">
            <a:solidFill>
              <a:srgbClr val="FFFFFF">
                <a:lumMod val="65000"/>
              </a:srgbClr>
            </a:solidFill>
            <a:prstDash val="solid"/>
            <a:headEnd type="none" w="med" len="med"/>
            <a:tailEnd type="none" w="med" len="med"/>
          </a:ln>
          <a:effectLst/>
        </p:spPr>
      </p:cxnSp>
      <p:sp>
        <p:nvSpPr>
          <p:cNvPr id="44" name="사각형: 둥근 모서리 59">
            <a:extLst>
              <a:ext uri="{FF2B5EF4-FFF2-40B4-BE49-F238E27FC236}">
                <a16:creationId xmlns:a16="http://schemas.microsoft.com/office/drawing/2014/main" id="{7EA3310D-1D89-3515-EA93-1A46019E2959}"/>
              </a:ext>
            </a:extLst>
          </p:cNvPr>
          <p:cNvSpPr/>
          <p:nvPr/>
        </p:nvSpPr>
        <p:spPr>
          <a:xfrm>
            <a:off x="6788757" y="5534902"/>
            <a:ext cx="548057" cy="401980"/>
          </a:xfrm>
          <a:prstGeom prst="roundRect">
            <a:avLst>
              <a:gd name="adj" fmla="val 10966"/>
            </a:avLst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착공</a:t>
            </a:r>
            <a:endParaRPr kumimoji="0" lang="en-US" altLang="ko-KR" sz="1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45" name="사각형: 둥근 모서리 59">
            <a:extLst>
              <a:ext uri="{FF2B5EF4-FFF2-40B4-BE49-F238E27FC236}">
                <a16:creationId xmlns:a16="http://schemas.microsoft.com/office/drawing/2014/main" id="{6ACF1367-9E1D-CC09-180A-E77AD2623B83}"/>
              </a:ext>
            </a:extLst>
          </p:cNvPr>
          <p:cNvSpPr/>
          <p:nvPr/>
        </p:nvSpPr>
        <p:spPr>
          <a:xfrm>
            <a:off x="5441769" y="5551759"/>
            <a:ext cx="735096" cy="401980"/>
          </a:xfrm>
          <a:prstGeom prst="roundRect">
            <a:avLst>
              <a:gd name="adj" fmla="val 10966"/>
            </a:avLst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투자 승인</a:t>
            </a:r>
            <a:endParaRPr kumimoji="0" lang="en-US" altLang="ko-KR" sz="1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46" name="사각형: 둥근 모서리 59">
            <a:extLst>
              <a:ext uri="{FF2B5EF4-FFF2-40B4-BE49-F238E27FC236}">
                <a16:creationId xmlns:a16="http://schemas.microsoft.com/office/drawing/2014/main" id="{0B3D23DE-578C-A865-F02F-0EA43D20DFD2}"/>
              </a:ext>
            </a:extLst>
          </p:cNvPr>
          <p:cNvSpPr/>
          <p:nvPr/>
        </p:nvSpPr>
        <p:spPr>
          <a:xfrm>
            <a:off x="3551981" y="5494313"/>
            <a:ext cx="1818384" cy="401980"/>
          </a:xfrm>
          <a:prstGeom prst="roundRect">
            <a:avLst>
              <a:gd name="adj" fmla="val 10966"/>
            </a:avLst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>
              <a:defRPr/>
            </a:pP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</a:rPr>
              <a:t>열원부지 확보</a:t>
            </a:r>
            <a:r>
              <a:rPr lang="ko-KR" altLang="en-US" sz="1000">
                <a:solidFill>
                  <a:srgbClr val="000000"/>
                </a:solidFill>
                <a:latin typeface="나눔고딕"/>
                <a:ea typeface="나눔고딕"/>
              </a:rPr>
              <a:t>/ 사업허가 추진</a:t>
            </a:r>
            <a:endParaRPr lang="en-US" altLang="ko-KR" sz="1000">
              <a:solidFill>
                <a:srgbClr val="000000"/>
              </a:solidFill>
              <a:latin typeface="나눔고딕"/>
              <a:ea typeface="나눔고딕"/>
            </a:endParaRPr>
          </a:p>
          <a:p>
            <a:pPr algn="ctr">
              <a:defRPr/>
            </a:pPr>
            <a:r>
              <a:rPr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</a:rPr>
              <a:t>주민수용성 확보</a:t>
            </a:r>
            <a:endParaRPr lang="ko-KR" alt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grpSp>
        <p:nvGrpSpPr>
          <p:cNvPr id="48" name="그룹 47">
            <a:extLst>
              <a:ext uri="{FF2B5EF4-FFF2-40B4-BE49-F238E27FC236}">
                <a16:creationId xmlns:a16="http://schemas.microsoft.com/office/drawing/2014/main" id="{A9307D15-5369-ED4C-267F-8B22C2D98FF2}"/>
              </a:ext>
            </a:extLst>
          </p:cNvPr>
          <p:cNvGrpSpPr/>
          <p:nvPr/>
        </p:nvGrpSpPr>
        <p:grpSpPr>
          <a:xfrm>
            <a:off x="926149" y="5190011"/>
            <a:ext cx="548056" cy="368365"/>
            <a:chOff x="1685284" y="5352442"/>
            <a:chExt cx="513028" cy="368365"/>
          </a:xfrm>
        </p:grpSpPr>
        <p:sp>
          <p:nvSpPr>
            <p:cNvPr id="49" name="순서도: 연결자 48">
              <a:extLst>
                <a:ext uri="{FF2B5EF4-FFF2-40B4-BE49-F238E27FC236}">
                  <a16:creationId xmlns:a16="http://schemas.microsoft.com/office/drawing/2014/main" id="{B25BB69A-49B9-9DD7-C3A9-FED047F0B105}"/>
                </a:ext>
              </a:extLst>
            </p:cNvPr>
            <p:cNvSpPr/>
            <p:nvPr/>
          </p:nvSpPr>
          <p:spPr>
            <a:xfrm>
              <a:off x="1720228" y="5352442"/>
              <a:ext cx="430816" cy="368365"/>
            </a:xfrm>
            <a:prstGeom prst="flowChartConnector">
              <a:avLst/>
            </a:prstGeom>
            <a:solidFill>
              <a:srgbClr val="FFFFFF"/>
            </a:solidFill>
            <a:ln w="38100" cap="flat" cmpd="sng" algn="ctr">
              <a:solidFill>
                <a:srgbClr val="0D6E6E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00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FAE5926A-693C-6466-B736-F870A2789CE8}"/>
                </a:ext>
              </a:extLst>
            </p:cNvPr>
            <p:cNvSpPr txBox="1"/>
            <p:nvPr/>
          </p:nvSpPr>
          <p:spPr>
            <a:xfrm>
              <a:off x="1685284" y="5416507"/>
              <a:ext cx="513028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rPr>
                <a:t>2023</a:t>
              </a:r>
              <a:endParaRPr kumimoji="0" lang="ko-KR" altLang="en-US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grpSp>
        <p:nvGrpSpPr>
          <p:cNvPr id="51" name="그룹 50">
            <a:extLst>
              <a:ext uri="{FF2B5EF4-FFF2-40B4-BE49-F238E27FC236}">
                <a16:creationId xmlns:a16="http://schemas.microsoft.com/office/drawing/2014/main" id="{ECF7A905-37BE-DD8B-A1C8-214F91C3386A}"/>
              </a:ext>
            </a:extLst>
          </p:cNvPr>
          <p:cNvGrpSpPr/>
          <p:nvPr/>
        </p:nvGrpSpPr>
        <p:grpSpPr>
          <a:xfrm>
            <a:off x="2905865" y="5190011"/>
            <a:ext cx="548056" cy="368365"/>
            <a:chOff x="1685284" y="5352442"/>
            <a:chExt cx="513028" cy="368365"/>
          </a:xfrm>
        </p:grpSpPr>
        <p:sp>
          <p:nvSpPr>
            <p:cNvPr id="52" name="순서도: 연결자 51">
              <a:extLst>
                <a:ext uri="{FF2B5EF4-FFF2-40B4-BE49-F238E27FC236}">
                  <a16:creationId xmlns:a16="http://schemas.microsoft.com/office/drawing/2014/main" id="{C4DFB18F-592B-5329-BA0B-CB68D45E10B3}"/>
                </a:ext>
              </a:extLst>
            </p:cNvPr>
            <p:cNvSpPr/>
            <p:nvPr/>
          </p:nvSpPr>
          <p:spPr>
            <a:xfrm>
              <a:off x="1720228" y="5352442"/>
              <a:ext cx="430816" cy="368365"/>
            </a:xfrm>
            <a:prstGeom prst="flowChartConnector">
              <a:avLst/>
            </a:prstGeom>
            <a:solidFill>
              <a:srgbClr val="FFFFFF"/>
            </a:solidFill>
            <a:ln w="38100" cap="flat" cmpd="sng" algn="ctr">
              <a:solidFill>
                <a:srgbClr val="0D6E6E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00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6C87521D-F8CA-3E42-21AB-C0D0D9BA85EC}"/>
                </a:ext>
              </a:extLst>
            </p:cNvPr>
            <p:cNvSpPr txBox="1"/>
            <p:nvPr/>
          </p:nvSpPr>
          <p:spPr>
            <a:xfrm>
              <a:off x="1685284" y="5416507"/>
              <a:ext cx="513028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rPr>
                <a:t>2024</a:t>
              </a:r>
              <a:endParaRPr kumimoji="0" lang="ko-KR" altLang="en-US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grpSp>
        <p:nvGrpSpPr>
          <p:cNvPr id="54" name="그룹 53">
            <a:extLst>
              <a:ext uri="{FF2B5EF4-FFF2-40B4-BE49-F238E27FC236}">
                <a16:creationId xmlns:a16="http://schemas.microsoft.com/office/drawing/2014/main" id="{D48FBB73-F159-4639-C27E-45611DDA4903}"/>
              </a:ext>
            </a:extLst>
          </p:cNvPr>
          <p:cNvGrpSpPr/>
          <p:nvPr/>
        </p:nvGrpSpPr>
        <p:grpSpPr>
          <a:xfrm>
            <a:off x="5549520" y="5190011"/>
            <a:ext cx="548056" cy="368365"/>
            <a:chOff x="1685284" y="5352442"/>
            <a:chExt cx="513028" cy="368365"/>
          </a:xfrm>
        </p:grpSpPr>
        <p:sp>
          <p:nvSpPr>
            <p:cNvPr id="56" name="순서도: 연결자 55">
              <a:extLst>
                <a:ext uri="{FF2B5EF4-FFF2-40B4-BE49-F238E27FC236}">
                  <a16:creationId xmlns:a16="http://schemas.microsoft.com/office/drawing/2014/main" id="{7A76FDF0-912B-E6B2-32B2-C9E7BBD0BBD4}"/>
                </a:ext>
              </a:extLst>
            </p:cNvPr>
            <p:cNvSpPr/>
            <p:nvPr/>
          </p:nvSpPr>
          <p:spPr>
            <a:xfrm>
              <a:off x="1720228" y="5352442"/>
              <a:ext cx="430816" cy="368365"/>
            </a:xfrm>
            <a:prstGeom prst="flowChartConnector">
              <a:avLst/>
            </a:prstGeom>
            <a:solidFill>
              <a:srgbClr val="FFFFFF"/>
            </a:solidFill>
            <a:ln w="38100" cap="flat" cmpd="sng" algn="ctr">
              <a:solidFill>
                <a:srgbClr val="0D6E6E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00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998763DF-095D-2909-BCAF-9A433E5EC307}"/>
                </a:ext>
              </a:extLst>
            </p:cNvPr>
            <p:cNvSpPr txBox="1"/>
            <p:nvPr/>
          </p:nvSpPr>
          <p:spPr>
            <a:xfrm>
              <a:off x="1685284" y="5416507"/>
              <a:ext cx="513028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rPr>
                <a:t>2025</a:t>
              </a:r>
              <a:endParaRPr kumimoji="0" lang="ko-KR" altLang="en-US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grpSp>
        <p:nvGrpSpPr>
          <p:cNvPr id="59" name="그룹 58">
            <a:extLst>
              <a:ext uri="{FF2B5EF4-FFF2-40B4-BE49-F238E27FC236}">
                <a16:creationId xmlns:a16="http://schemas.microsoft.com/office/drawing/2014/main" id="{5332357F-DE02-777C-DC21-7817B31C385C}"/>
              </a:ext>
            </a:extLst>
          </p:cNvPr>
          <p:cNvGrpSpPr/>
          <p:nvPr/>
        </p:nvGrpSpPr>
        <p:grpSpPr>
          <a:xfrm>
            <a:off x="6747103" y="5190011"/>
            <a:ext cx="548056" cy="368365"/>
            <a:chOff x="1685284" y="5352442"/>
            <a:chExt cx="513028" cy="368365"/>
          </a:xfrm>
        </p:grpSpPr>
        <p:sp>
          <p:nvSpPr>
            <p:cNvPr id="60" name="순서도: 연결자 59">
              <a:extLst>
                <a:ext uri="{FF2B5EF4-FFF2-40B4-BE49-F238E27FC236}">
                  <a16:creationId xmlns:a16="http://schemas.microsoft.com/office/drawing/2014/main" id="{B7A322D6-0829-A55D-B7CB-5DA72C6EFACE}"/>
                </a:ext>
              </a:extLst>
            </p:cNvPr>
            <p:cNvSpPr/>
            <p:nvPr/>
          </p:nvSpPr>
          <p:spPr>
            <a:xfrm>
              <a:off x="1720228" y="5352442"/>
              <a:ext cx="430816" cy="368365"/>
            </a:xfrm>
            <a:prstGeom prst="flowChartConnector">
              <a:avLst/>
            </a:prstGeom>
            <a:solidFill>
              <a:srgbClr val="FFFFFF"/>
            </a:solidFill>
            <a:ln w="38100" cap="flat" cmpd="sng" algn="ctr">
              <a:solidFill>
                <a:srgbClr val="0D6E6E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00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D614A9C6-18F7-3B0C-783A-088F64339BFE}"/>
                </a:ext>
              </a:extLst>
            </p:cNvPr>
            <p:cNvSpPr txBox="1"/>
            <p:nvPr/>
          </p:nvSpPr>
          <p:spPr>
            <a:xfrm>
              <a:off x="1685284" y="5416507"/>
              <a:ext cx="513028" cy="253916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2026</a:t>
              </a:r>
              <a:endParaRPr kumimoji="0" lang="ko-KR" altLang="en-US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grpSp>
        <p:nvGrpSpPr>
          <p:cNvPr id="62" name="그룹 61">
            <a:extLst>
              <a:ext uri="{FF2B5EF4-FFF2-40B4-BE49-F238E27FC236}">
                <a16:creationId xmlns:a16="http://schemas.microsoft.com/office/drawing/2014/main" id="{9A0C7012-2272-4E25-14D5-037B7C7A11F5}"/>
              </a:ext>
            </a:extLst>
          </p:cNvPr>
          <p:cNvGrpSpPr/>
          <p:nvPr/>
        </p:nvGrpSpPr>
        <p:grpSpPr>
          <a:xfrm>
            <a:off x="7944686" y="5190011"/>
            <a:ext cx="548056" cy="368365"/>
            <a:chOff x="1685284" y="5352442"/>
            <a:chExt cx="513028" cy="368365"/>
          </a:xfrm>
        </p:grpSpPr>
        <p:sp>
          <p:nvSpPr>
            <p:cNvPr id="63" name="순서도: 연결자 62">
              <a:extLst>
                <a:ext uri="{FF2B5EF4-FFF2-40B4-BE49-F238E27FC236}">
                  <a16:creationId xmlns:a16="http://schemas.microsoft.com/office/drawing/2014/main" id="{CBD10DB4-95CD-E3D2-4A3E-44C225F6C70B}"/>
                </a:ext>
              </a:extLst>
            </p:cNvPr>
            <p:cNvSpPr/>
            <p:nvPr/>
          </p:nvSpPr>
          <p:spPr>
            <a:xfrm>
              <a:off x="1720228" y="5352442"/>
              <a:ext cx="430816" cy="368365"/>
            </a:xfrm>
            <a:prstGeom prst="flowChartConnector">
              <a:avLst/>
            </a:prstGeom>
            <a:solidFill>
              <a:srgbClr val="FFFFFF"/>
            </a:solidFill>
            <a:ln w="38100" cap="flat" cmpd="sng" algn="ctr">
              <a:solidFill>
                <a:srgbClr val="0D6E6E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00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6CD10375-22C9-0204-5749-6C7912DBFCE6}"/>
                </a:ext>
              </a:extLst>
            </p:cNvPr>
            <p:cNvSpPr txBox="1"/>
            <p:nvPr/>
          </p:nvSpPr>
          <p:spPr>
            <a:xfrm>
              <a:off x="1685284" y="5416507"/>
              <a:ext cx="513028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rPr>
                <a:t>2029</a:t>
              </a:r>
              <a:endParaRPr kumimoji="0" lang="ko-KR" altLang="en-US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sp>
        <p:nvSpPr>
          <p:cNvPr id="68" name="사각형: 둥근 모서리 59">
            <a:extLst>
              <a:ext uri="{FF2B5EF4-FFF2-40B4-BE49-F238E27FC236}">
                <a16:creationId xmlns:a16="http://schemas.microsoft.com/office/drawing/2014/main" id="{C2F0DEB2-8ADE-69D2-D0EC-8FE3F82BB965}"/>
              </a:ext>
            </a:extLst>
          </p:cNvPr>
          <p:cNvSpPr/>
          <p:nvPr/>
        </p:nvSpPr>
        <p:spPr>
          <a:xfrm>
            <a:off x="1504709" y="5417035"/>
            <a:ext cx="1240865" cy="401980"/>
          </a:xfrm>
          <a:prstGeom prst="roundRect">
            <a:avLst>
              <a:gd name="adj" fmla="val 10966"/>
            </a:avLst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사업타당성 검토</a:t>
            </a:r>
            <a:endParaRPr kumimoji="0" lang="en-US" altLang="ko-KR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grpSp>
        <p:nvGrpSpPr>
          <p:cNvPr id="3" name="그룹 6">
            <a:extLst>
              <a:ext uri="{FF2B5EF4-FFF2-40B4-BE49-F238E27FC236}">
                <a16:creationId xmlns:a16="http://schemas.microsoft.com/office/drawing/2014/main" id="{770409EF-A262-1427-94A9-746C86BE475A}"/>
              </a:ext>
            </a:extLst>
          </p:cNvPr>
          <p:cNvGrpSpPr/>
          <p:nvPr/>
        </p:nvGrpSpPr>
        <p:grpSpPr>
          <a:xfrm>
            <a:off x="3814189" y="1687310"/>
            <a:ext cx="3115317" cy="1772117"/>
            <a:chOff x="618451" y="1750091"/>
            <a:chExt cx="3115317" cy="1772117"/>
          </a:xfrm>
        </p:grpSpPr>
        <p:sp>
          <p:nvSpPr>
            <p:cNvPr id="4" name="직사각형 57">
              <a:extLst>
                <a:ext uri="{FF2B5EF4-FFF2-40B4-BE49-F238E27FC236}">
                  <a16:creationId xmlns:a16="http://schemas.microsoft.com/office/drawing/2014/main" id="{33E72A15-028B-78C3-A12C-66AE5BB93FEC}"/>
                </a:ext>
              </a:extLst>
            </p:cNvPr>
            <p:cNvSpPr/>
            <p:nvPr/>
          </p:nvSpPr>
          <p:spPr>
            <a:xfrm>
              <a:off x="618451" y="1924336"/>
              <a:ext cx="2934015" cy="1597872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ctr"/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8" name="모서리가 둥근 직사각형 54">
              <a:hlinkClick r:id="" action="ppaction://noaction"/>
              <a:extLst>
                <a:ext uri="{FF2B5EF4-FFF2-40B4-BE49-F238E27FC236}">
                  <a16:creationId xmlns:a16="http://schemas.microsoft.com/office/drawing/2014/main" id="{16DF930D-52DF-3573-1CF7-48233D713F82}"/>
                </a:ext>
              </a:extLst>
            </p:cNvPr>
            <p:cNvSpPr/>
            <p:nvPr/>
          </p:nvSpPr>
          <p:spPr>
            <a:xfrm>
              <a:off x="1154865" y="1750091"/>
              <a:ext cx="1861186" cy="266397"/>
            </a:xfrm>
            <a:prstGeom prst="roundRect">
              <a:avLst/>
            </a:prstGeom>
            <a:solidFill>
              <a:schemeClr val="bg1"/>
            </a:solidFill>
            <a:ln w="6350" cap="rnd">
              <a:solidFill>
                <a:srgbClr val="0070C0"/>
              </a:solidFill>
              <a:tailEnd type="none"/>
            </a:ln>
            <a:effectLst>
              <a:innerShdw blurRad="38100">
                <a:schemeClr val="accent5">
                  <a:lumMod val="5000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marL="0" marR="0" lvl="0" indent="0" algn="ctr" defTabSz="7874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1" i="0" u="none" strike="noStrike" kern="1200" cap="none" spc="0" normalizeH="0" baseline="0" noProof="0">
                  <a:ln>
                    <a:noFill/>
                  </a:ln>
                  <a:gradFill flip="none" rotWithShape="1">
                    <a:gsLst>
                      <a:gs pos="0">
                        <a:srgbClr val="0070C0">
                          <a:shade val="30000"/>
                          <a:satMod val="115000"/>
                        </a:srgbClr>
                      </a:gs>
                      <a:gs pos="50000">
                        <a:srgbClr val="0070C0">
                          <a:shade val="67500"/>
                          <a:satMod val="115000"/>
                        </a:srgbClr>
                      </a:gs>
                      <a:gs pos="100000">
                        <a:srgbClr val="0070C0">
                          <a:shade val="100000"/>
                          <a:satMod val="115000"/>
                        </a:srgbClr>
                      </a:gs>
                    </a:gsLst>
                    <a:lin ang="16200000" scaled="1"/>
                    <a:tileRect/>
                  </a:gradFill>
                  <a:effectLst>
                    <a:glow rad="101600">
                      <a:srgbClr val="FFFFFF"/>
                    </a:glow>
                  </a:effectLst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잠재 </a:t>
              </a:r>
              <a:r>
                <a:rPr kumimoji="0" lang="ko-KR" altLang="en-US" sz="1100" b="1" i="0" u="none" strike="noStrike" kern="1200" cap="none" spc="0" normalizeH="0" baseline="0" noProof="0" err="1">
                  <a:ln>
                    <a:noFill/>
                  </a:ln>
                  <a:gradFill flip="none" rotWithShape="1">
                    <a:gsLst>
                      <a:gs pos="0">
                        <a:srgbClr val="0070C0">
                          <a:shade val="30000"/>
                          <a:satMod val="115000"/>
                        </a:srgbClr>
                      </a:gs>
                      <a:gs pos="50000">
                        <a:srgbClr val="0070C0">
                          <a:shade val="67500"/>
                          <a:satMod val="115000"/>
                        </a:srgbClr>
                      </a:gs>
                      <a:gs pos="100000">
                        <a:srgbClr val="0070C0">
                          <a:shade val="100000"/>
                          <a:satMod val="115000"/>
                        </a:srgbClr>
                      </a:gs>
                    </a:gsLst>
                    <a:lin ang="16200000" scaled="1"/>
                    <a:tileRect/>
                  </a:gradFill>
                  <a:effectLst>
                    <a:glow rad="101600">
                      <a:srgbClr val="FFFFFF"/>
                    </a:glow>
                  </a:effectLst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미활용</a:t>
              </a:r>
              <a:r>
                <a:rPr kumimoji="0" lang="ko-KR" altLang="en-US" sz="1100" b="1" i="0" u="none" strike="noStrike" kern="1200" cap="none" spc="0" normalizeH="0" baseline="0" noProof="0">
                  <a:ln>
                    <a:noFill/>
                  </a:ln>
                  <a:gradFill flip="none" rotWithShape="1">
                    <a:gsLst>
                      <a:gs pos="0">
                        <a:srgbClr val="0070C0">
                          <a:shade val="30000"/>
                          <a:satMod val="115000"/>
                        </a:srgbClr>
                      </a:gs>
                      <a:gs pos="50000">
                        <a:srgbClr val="0070C0">
                          <a:shade val="67500"/>
                          <a:satMod val="115000"/>
                        </a:srgbClr>
                      </a:gs>
                      <a:gs pos="100000">
                        <a:srgbClr val="0070C0">
                          <a:shade val="100000"/>
                          <a:satMod val="115000"/>
                        </a:srgbClr>
                      </a:gs>
                    </a:gsLst>
                    <a:lin ang="16200000" scaled="1"/>
                    <a:tileRect/>
                  </a:gradFill>
                  <a:effectLst>
                    <a:glow rad="101600">
                      <a:srgbClr val="FFFFFF"/>
                    </a:glow>
                  </a:effectLst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 열원 지속 개발</a:t>
              </a:r>
            </a:p>
          </p:txBody>
        </p:sp>
        <p:sp>
          <p:nvSpPr>
            <p:cNvPr id="9" name="사각형: 둥근 모서리 59">
              <a:extLst>
                <a:ext uri="{FF2B5EF4-FFF2-40B4-BE49-F238E27FC236}">
                  <a16:creationId xmlns:a16="http://schemas.microsoft.com/office/drawing/2014/main" id="{7C3E508D-73FE-98A6-D5BF-C04C26E3271A}"/>
                </a:ext>
              </a:extLst>
            </p:cNvPr>
            <p:cNvSpPr/>
            <p:nvPr/>
          </p:nvSpPr>
          <p:spPr>
            <a:xfrm>
              <a:off x="632063" y="1999370"/>
              <a:ext cx="3101705" cy="1416997"/>
            </a:xfrm>
            <a:prstGeom prst="roundRect">
              <a:avLst>
                <a:gd name="adj" fmla="val 10966"/>
              </a:avLst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marL="171450" marR="0" lvl="0" indent="-171450" algn="l" defTabSz="914400" rtl="0" eaLnBrk="1" fontAlgn="auto" latinLnBrk="1" hangingPunct="1">
                <a:lnSpc>
                  <a:spcPct val="17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ko-KR" altLang="en-US" sz="1050" b="1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/>
                  <a:ea typeface="나눔고딕"/>
                  <a:cs typeface="Arial"/>
                </a:rPr>
                <a:t>소각장</a:t>
              </a:r>
              <a:endParaRPr kumimoji="0" lang="en-US" altLang="ko-KR" sz="105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endParaRPr>
            </a:p>
            <a:p>
              <a:pPr marR="0" lvl="0" algn="l" defTabSz="180975" rtl="0" eaLnBrk="1" fontAlgn="auto" latinLnBrk="1" hangingPunct="1">
                <a:lnSpc>
                  <a:spcPct val="17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kumimoji="0" lang="en-US" altLang="ko-KR" sz="1050" b="1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/>
                  <a:ea typeface="나눔고딕"/>
                  <a:cs typeface="Arial"/>
                </a:rPr>
                <a:t>	- </a:t>
              </a:r>
              <a:r>
                <a:rPr kumimoji="0" lang="ko-KR" altLang="en-US" sz="1050" b="1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/>
                  <a:ea typeface="나눔고딕"/>
                  <a:cs typeface="Arial"/>
                </a:rPr>
                <a:t>송도 소각장 및 기타 소각장 연계 방안 검토</a:t>
              </a:r>
              <a:endParaRPr kumimoji="0" lang="en-US" altLang="ko-KR" sz="105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endParaRPr>
            </a:p>
            <a:p>
              <a:pPr marL="171450" marR="0" lvl="0" indent="-171450" algn="l" defTabSz="914400" rtl="0" eaLnBrk="1" fontAlgn="auto" latinLnBrk="1" hangingPunct="1">
                <a:lnSpc>
                  <a:spcPct val="17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ko-KR" altLang="en-US" sz="1050" b="1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/>
                  <a:ea typeface="나눔고딕"/>
                  <a:cs typeface="Arial"/>
                </a:rPr>
                <a:t>연료전지</a:t>
              </a:r>
              <a:endParaRPr kumimoji="0" lang="en-US" altLang="ko-KR" sz="105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endParaRPr>
            </a:p>
            <a:p>
              <a:pPr defTabSz="180975">
                <a:lnSpc>
                  <a:spcPct val="170000"/>
                </a:lnSpc>
                <a:tabLst>
                  <a:tab pos="180975" algn="l"/>
                </a:tabLst>
                <a:defRPr/>
              </a:pPr>
              <a:r>
                <a:rPr lang="en-US" altLang="ko-KR" sz="1050" b="1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나눔고딕"/>
                  <a:ea typeface="나눔고딕"/>
                  <a:cs typeface="Arial"/>
                </a:rPr>
                <a:t>	- </a:t>
              </a:r>
              <a:r>
                <a:rPr lang="ko-KR" altLang="en-US" sz="1050" b="1" err="1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나눔고딕"/>
                  <a:ea typeface="나눔고딕"/>
                  <a:cs typeface="Arial"/>
                </a:rPr>
                <a:t>위드인천</a:t>
              </a:r>
              <a:r>
                <a:rPr lang="en-US" altLang="ko-KR" sz="1050" b="1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나눔고딕"/>
                  <a:ea typeface="나눔고딕"/>
                  <a:cs typeface="Arial"/>
                </a:rPr>
                <a:t>E </a:t>
              </a:r>
              <a:r>
                <a:rPr lang="ko-KR" altLang="en-US" sz="1050" b="1" err="1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나눔고딕"/>
                  <a:ea typeface="나눔고딕"/>
                  <a:cs typeface="Arial"/>
                </a:rPr>
                <a:t>부지내</a:t>
              </a:r>
              <a:r>
                <a:rPr lang="en-US" altLang="ko-KR" sz="1050" b="1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나눔고딕"/>
                  <a:ea typeface="나눔고딕"/>
                  <a:cs typeface="Arial"/>
                </a:rPr>
                <a:t> </a:t>
              </a:r>
              <a:r>
                <a:rPr lang="ko-KR" altLang="en-US" sz="1050" b="1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나눔고딕"/>
                  <a:ea typeface="나눔고딕"/>
                  <a:cs typeface="Arial"/>
                </a:rPr>
                <a:t>연료전지 도입 검토</a:t>
              </a:r>
              <a:br>
                <a:rPr lang="en-US" altLang="ko-KR" sz="1050" b="1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나눔고딕"/>
                  <a:ea typeface="나눔고딕"/>
                  <a:cs typeface="Arial"/>
                </a:rPr>
              </a:br>
              <a:r>
                <a:rPr lang="en-US" altLang="ko-KR" sz="1050" b="1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나눔고딕"/>
                  <a:ea typeface="나눔고딕"/>
                  <a:cs typeface="Arial"/>
                </a:rPr>
                <a:t>	- </a:t>
              </a:r>
              <a:r>
                <a:rPr kumimoji="0" lang="ko-KR" altLang="en-US" sz="1050" b="1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/>
                  <a:ea typeface="나눔고딕"/>
                  <a:cs typeface="Arial"/>
                </a:rPr>
                <a:t>인천 </a:t>
              </a:r>
              <a:r>
                <a:rPr kumimoji="0" lang="ko-KR" altLang="en-US" sz="1050" b="1" i="0" u="none" strike="noStrike" kern="1200" cap="none" spc="0" normalizeH="0" baseline="0" noProof="0" err="1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/>
                  <a:ea typeface="나눔고딕"/>
                  <a:cs typeface="Arial"/>
                </a:rPr>
                <a:t>북항</a:t>
              </a:r>
              <a:r>
                <a:rPr kumimoji="0" lang="ko-KR" altLang="en-US" sz="1050" b="1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/>
                  <a:ea typeface="나눔고딕"/>
                  <a:cs typeface="Arial"/>
                </a:rPr>
                <a:t> 연료전지</a:t>
              </a:r>
              <a:endParaRPr kumimoji="0" lang="en-US" altLang="ko-KR" sz="105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endParaRPr>
            </a:p>
          </p:txBody>
        </p:sp>
      </p:grpSp>
      <p:grpSp>
        <p:nvGrpSpPr>
          <p:cNvPr id="10" name="그룹 4">
            <a:extLst>
              <a:ext uri="{FF2B5EF4-FFF2-40B4-BE49-F238E27FC236}">
                <a16:creationId xmlns:a16="http://schemas.microsoft.com/office/drawing/2014/main" id="{DC1CD559-36B2-AD27-EA4A-C79E288C31A7}"/>
              </a:ext>
            </a:extLst>
          </p:cNvPr>
          <p:cNvGrpSpPr/>
          <p:nvPr/>
        </p:nvGrpSpPr>
        <p:grpSpPr>
          <a:xfrm>
            <a:off x="796863" y="1687310"/>
            <a:ext cx="2456607" cy="1770911"/>
            <a:chOff x="4355633" y="1751296"/>
            <a:chExt cx="2456607" cy="1770911"/>
          </a:xfrm>
        </p:grpSpPr>
        <p:sp>
          <p:nvSpPr>
            <p:cNvPr id="11" name="직사각형 132">
              <a:extLst>
                <a:ext uri="{FF2B5EF4-FFF2-40B4-BE49-F238E27FC236}">
                  <a16:creationId xmlns:a16="http://schemas.microsoft.com/office/drawing/2014/main" id="{690E8BC1-5740-E26D-FFF0-92B54343A150}"/>
                </a:ext>
              </a:extLst>
            </p:cNvPr>
            <p:cNvSpPr/>
            <p:nvPr/>
          </p:nvSpPr>
          <p:spPr>
            <a:xfrm>
              <a:off x="4355633" y="1944076"/>
              <a:ext cx="2355400" cy="157813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ctr"/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2" name="모서리가 둥근 직사각형 133">
              <a:hlinkClick r:id="" action="ppaction://noaction"/>
              <a:extLst>
                <a:ext uri="{FF2B5EF4-FFF2-40B4-BE49-F238E27FC236}">
                  <a16:creationId xmlns:a16="http://schemas.microsoft.com/office/drawing/2014/main" id="{7472BD22-D282-BC7D-3222-BA40777EB5E3}"/>
                </a:ext>
              </a:extLst>
            </p:cNvPr>
            <p:cNvSpPr/>
            <p:nvPr/>
          </p:nvSpPr>
          <p:spPr>
            <a:xfrm>
              <a:off x="4629584" y="1751296"/>
              <a:ext cx="1807498" cy="266397"/>
            </a:xfrm>
            <a:prstGeom prst="roundRect">
              <a:avLst/>
            </a:prstGeom>
            <a:solidFill>
              <a:schemeClr val="bg1"/>
            </a:solidFill>
            <a:ln w="6350" cap="rnd">
              <a:solidFill>
                <a:srgbClr val="0070C0"/>
              </a:solidFill>
              <a:tailEnd type="none"/>
            </a:ln>
            <a:effectLst>
              <a:innerShdw blurRad="38100">
                <a:schemeClr val="accent5">
                  <a:lumMod val="5000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marL="0" marR="0" lvl="0" indent="0" algn="ctr" defTabSz="7874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110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나눔고딕"/>
                  <a:ea typeface="나눔고딕"/>
                  <a:cs typeface="Arial"/>
                </a:rPr>
                <a:t>'</a:t>
              </a:r>
              <a:r>
                <a:rPr kumimoji="0" lang="en-US" altLang="ko-KR" sz="1100" b="1" i="0" u="none" strike="noStrike" kern="1200" cap="none" spc="0" normalizeH="0" baseline="0" noProof="0">
                  <a:ln>
                    <a:noFill/>
                  </a:ln>
                  <a:gradFill flip="none" rotWithShape="1">
                    <a:gsLst>
                      <a:gs pos="0">
                        <a:srgbClr val="0070C0">
                          <a:shade val="30000"/>
                          <a:satMod val="115000"/>
                        </a:srgbClr>
                      </a:gs>
                      <a:gs pos="50000">
                        <a:srgbClr val="0070C0">
                          <a:shade val="67500"/>
                          <a:satMod val="115000"/>
                        </a:srgbClr>
                      </a:gs>
                      <a:gs pos="100000">
                        <a:srgbClr val="0070C0">
                          <a:shade val="100000"/>
                          <a:satMod val="115000"/>
                        </a:srgbClr>
                      </a:gs>
                    </a:gsLst>
                    <a:lin ang="16200000" scaled="1"/>
                    <a:tileRect/>
                  </a:gradFill>
                  <a:effectLst>
                    <a:glow rad="101600">
                      <a:srgbClr val="FFFFFF"/>
                    </a:glow>
                  </a:effectLst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23</a:t>
              </a:r>
              <a:r>
                <a:rPr kumimoji="0" lang="ko-KR" altLang="en-US" sz="1100" b="1" i="0" u="none" strike="noStrike" kern="1200" cap="none" spc="0" normalizeH="0" baseline="0" noProof="0">
                  <a:ln>
                    <a:noFill/>
                  </a:ln>
                  <a:gradFill flip="none" rotWithShape="1">
                    <a:gsLst>
                      <a:gs pos="0">
                        <a:srgbClr val="0070C0">
                          <a:shade val="30000"/>
                          <a:satMod val="115000"/>
                        </a:srgbClr>
                      </a:gs>
                      <a:gs pos="50000">
                        <a:srgbClr val="0070C0">
                          <a:shade val="67500"/>
                          <a:satMod val="115000"/>
                        </a:srgbClr>
                      </a:gs>
                      <a:gs pos="100000">
                        <a:srgbClr val="0070C0">
                          <a:shade val="100000"/>
                          <a:satMod val="115000"/>
                        </a:srgbClr>
                      </a:gs>
                    </a:gsLst>
                    <a:lin ang="16200000" scaled="1"/>
                    <a:tileRect/>
                  </a:gradFill>
                  <a:effectLst>
                    <a:glow rad="101600">
                      <a:srgbClr val="FFFFFF"/>
                    </a:glow>
                  </a:effectLst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년 </a:t>
              </a:r>
              <a:r>
                <a:rPr kumimoji="0" lang="ko-KR" altLang="en-US" sz="1100" b="1" i="0" u="none" strike="noStrike" kern="1200" cap="none" spc="0" normalizeH="0" baseline="0" noProof="0" err="1">
                  <a:ln>
                    <a:noFill/>
                  </a:ln>
                  <a:gradFill flip="none" rotWithShape="1">
                    <a:gsLst>
                      <a:gs pos="0">
                        <a:srgbClr val="0070C0">
                          <a:shade val="30000"/>
                          <a:satMod val="115000"/>
                        </a:srgbClr>
                      </a:gs>
                      <a:gs pos="50000">
                        <a:srgbClr val="0070C0">
                          <a:shade val="67500"/>
                          <a:satMod val="115000"/>
                        </a:srgbClr>
                      </a:gs>
                      <a:gs pos="100000">
                        <a:srgbClr val="0070C0">
                          <a:shade val="100000"/>
                          <a:satMod val="115000"/>
                        </a:srgbClr>
                      </a:gs>
                    </a:gsLst>
                    <a:lin ang="16200000" scaled="1"/>
                    <a:tileRect/>
                  </a:gradFill>
                  <a:effectLst>
                    <a:glow rad="101600">
                      <a:srgbClr val="FFFFFF"/>
                    </a:glow>
                  </a:effectLst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미활용</a:t>
              </a:r>
              <a:r>
                <a:rPr kumimoji="0" lang="ko-KR" altLang="en-US" sz="1100" b="1" i="0" u="none" strike="noStrike" kern="1200" cap="none" spc="0" normalizeH="0" baseline="0" noProof="0">
                  <a:ln>
                    <a:noFill/>
                  </a:ln>
                  <a:gradFill flip="none" rotWithShape="1">
                    <a:gsLst>
                      <a:gs pos="0">
                        <a:srgbClr val="0070C0">
                          <a:shade val="30000"/>
                          <a:satMod val="115000"/>
                        </a:srgbClr>
                      </a:gs>
                      <a:gs pos="50000">
                        <a:srgbClr val="0070C0">
                          <a:shade val="67500"/>
                          <a:satMod val="115000"/>
                        </a:srgbClr>
                      </a:gs>
                      <a:gs pos="100000">
                        <a:srgbClr val="0070C0">
                          <a:shade val="100000"/>
                          <a:satMod val="115000"/>
                        </a:srgbClr>
                      </a:gs>
                    </a:gsLst>
                    <a:lin ang="16200000" scaled="1"/>
                    <a:tileRect/>
                  </a:gradFill>
                  <a:effectLst>
                    <a:glow rad="101600">
                      <a:srgbClr val="FFFFFF"/>
                    </a:glow>
                  </a:effectLst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 열원 개발 실적</a:t>
              </a:r>
            </a:p>
          </p:txBody>
        </p:sp>
        <p:sp>
          <p:nvSpPr>
            <p:cNvPr id="13" name="사각형: 둥근 모서리 59">
              <a:extLst>
                <a:ext uri="{FF2B5EF4-FFF2-40B4-BE49-F238E27FC236}">
                  <a16:creationId xmlns:a16="http://schemas.microsoft.com/office/drawing/2014/main" id="{C230E511-E866-B4B2-8772-996FAC1F62FC}"/>
                </a:ext>
              </a:extLst>
            </p:cNvPr>
            <p:cNvSpPr/>
            <p:nvPr/>
          </p:nvSpPr>
          <p:spPr>
            <a:xfrm>
              <a:off x="4366888" y="2000062"/>
              <a:ext cx="2445352" cy="1416997"/>
            </a:xfrm>
            <a:prstGeom prst="roundRect">
              <a:avLst>
                <a:gd name="adj" fmla="val 10966"/>
              </a:avLst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71450" marR="0" lvl="0" indent="-171450" algn="l" defTabSz="914400" rtl="0" eaLnBrk="1" fontAlgn="auto" latinLnBrk="1" hangingPunct="1">
                <a:lnSpc>
                  <a:spcPct val="17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ko-KR" altLang="en-US" sz="1050" b="1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/>
                  <a:ea typeface="나눔고딕"/>
                  <a:cs typeface="Arial"/>
                </a:rPr>
                <a:t>인천도시가스 연료전지 계약</a:t>
              </a:r>
              <a:br>
                <a:rPr kumimoji="0" lang="en-US" altLang="ko-KR" sz="1050" b="1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/>
                  <a:ea typeface="나눔고딕"/>
                  <a:cs typeface="Arial"/>
                </a:rPr>
              </a:br>
              <a:r>
                <a:rPr kumimoji="0" lang="en-US" altLang="ko-KR" sz="1050" b="1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/>
                  <a:ea typeface="나눔고딕"/>
                  <a:cs typeface="Arial"/>
                </a:rPr>
                <a:t>(12.5G/h, </a:t>
              </a:r>
              <a:r>
                <a:rPr lang="en-US" altLang="ko-KR" sz="105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나눔고딕"/>
                  <a:ea typeface="나눔고딕"/>
                  <a:cs typeface="Arial"/>
                </a:rPr>
                <a:t>'</a:t>
              </a:r>
              <a:r>
                <a:rPr kumimoji="0" lang="en-US" altLang="ko-KR" sz="1050" b="1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/>
                  <a:ea typeface="나눔고딕"/>
                  <a:cs typeface="Arial"/>
                </a:rPr>
                <a:t>24.4Q)</a:t>
              </a:r>
              <a:endParaRPr kumimoji="0" lang="ko-KR" altLang="en-US" sz="105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endParaRPr>
            </a:p>
            <a:p>
              <a:pPr marL="171450" lvl="0" indent="-171450">
                <a:lnSpc>
                  <a:spcPct val="170000"/>
                </a:lnSpc>
                <a:buFont typeface="Wingdings" panose="05000000000000000000" pitchFamily="2" charset="2"/>
                <a:buChar char="§"/>
                <a:defRPr/>
              </a:pPr>
              <a:r>
                <a:rPr kumimoji="0" lang="en-US" altLang="ko-KR" sz="1050" b="1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/>
                  <a:ea typeface="나눔고딕"/>
                  <a:cs typeface="Arial"/>
                </a:rPr>
                <a:t>SK</a:t>
              </a:r>
              <a:r>
                <a:rPr kumimoji="0" lang="ko-KR" altLang="en-US" sz="1050" b="1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/>
                  <a:ea typeface="나눔고딕"/>
                  <a:cs typeface="Arial"/>
                </a:rPr>
                <a:t>인천석유화학 </a:t>
              </a:r>
              <a:br>
                <a:rPr kumimoji="0" lang="en-US" altLang="ko-KR" sz="1050" b="1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/>
                  <a:ea typeface="나눔고딕"/>
                  <a:cs typeface="Arial"/>
                </a:rPr>
              </a:br>
              <a:r>
                <a:rPr kumimoji="0" lang="en-US" altLang="ko-KR" sz="1050" b="1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/>
                  <a:ea typeface="나눔고딕"/>
                  <a:cs typeface="Arial"/>
                </a:rPr>
                <a:t>- </a:t>
              </a:r>
              <a:r>
                <a:rPr kumimoji="0" lang="ko-KR" altLang="en-US" sz="1050" b="1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/>
                  <a:ea typeface="나눔고딕"/>
                  <a:cs typeface="Arial"/>
                </a:rPr>
                <a:t>추가</a:t>
              </a:r>
              <a:r>
                <a:rPr kumimoji="0" lang="ko-KR" altLang="en-US" sz="1050" b="1" i="0" u="none" strike="noStrike" kern="1200" cap="none" spc="0" normalizeH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/>
                  <a:ea typeface="나눔고딕"/>
                  <a:cs typeface="Arial"/>
                </a:rPr>
                <a:t> </a:t>
              </a:r>
              <a:r>
                <a:rPr kumimoji="0" lang="en-US" altLang="ko-KR" sz="1050" b="1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/>
                  <a:ea typeface="나눔고딕"/>
                  <a:cs typeface="Arial"/>
                </a:rPr>
                <a:t>10G/h (</a:t>
              </a:r>
              <a:r>
                <a:rPr lang="en-US" altLang="ko-KR" sz="105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나눔고딕"/>
                  <a:ea typeface="나눔고딕"/>
                  <a:cs typeface="Arial"/>
                </a:rPr>
                <a:t>'</a:t>
              </a:r>
              <a:r>
                <a:rPr kumimoji="0" lang="en-US" altLang="ko-KR" sz="1050" b="1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/>
                  <a:ea typeface="나눔고딕"/>
                  <a:cs typeface="Arial"/>
                </a:rPr>
                <a:t>23.1Q)</a:t>
              </a:r>
              <a:br>
                <a:rPr kumimoji="0" lang="en-US" altLang="ko-KR" sz="1050" b="1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/>
                  <a:ea typeface="나눔고딕"/>
                  <a:cs typeface="Arial"/>
                </a:rPr>
              </a:br>
              <a:r>
                <a:rPr kumimoji="0" lang="en-US" altLang="ko-KR" sz="1050" b="1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/>
                  <a:ea typeface="나눔고딕"/>
                  <a:cs typeface="Arial"/>
                </a:rPr>
                <a:t>- </a:t>
              </a:r>
              <a:r>
                <a:rPr lang="ko-KR" altLang="en-US" sz="1050" b="1" noProof="0" err="1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나눔고딕"/>
                  <a:ea typeface="나눔고딕"/>
                  <a:cs typeface="Arial"/>
                </a:rPr>
                <a:t>청라</a:t>
              </a:r>
              <a:r>
                <a:rPr lang="ko-KR" altLang="en-US" sz="1050" b="1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나눔고딕"/>
                  <a:ea typeface="나눔고딕"/>
                  <a:cs typeface="Arial"/>
                </a:rPr>
                <a:t> 연계 물량 </a:t>
              </a:r>
              <a:r>
                <a:rPr lang="en-US" altLang="ko-KR" sz="1050" b="1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chemeClr val="tx1"/>
                  </a:solidFill>
                  <a:latin typeface="나눔고딕"/>
                  <a:ea typeface="나눔고딕"/>
                  <a:cs typeface="Arial"/>
                </a:rPr>
                <a:t>25G/h (</a:t>
              </a:r>
              <a:r>
                <a:rPr lang="en-US" altLang="ko-KR" sz="105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chemeClr val="tx1"/>
                  </a:solidFill>
                  <a:latin typeface="나눔고딕"/>
                  <a:ea typeface="나눔고딕"/>
                  <a:cs typeface="Arial"/>
                </a:rPr>
                <a:t>'</a:t>
              </a:r>
              <a:r>
                <a:rPr lang="en-US" altLang="ko-KR" sz="1050" b="1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chemeClr val="tx1"/>
                  </a:solidFill>
                  <a:latin typeface="나눔고딕"/>
                  <a:ea typeface="나눔고딕"/>
                  <a:cs typeface="Arial"/>
                </a:rPr>
                <a:t>23.2Q)</a:t>
              </a:r>
              <a:r>
                <a:rPr lang="ko-KR" altLang="en-US" sz="1050" b="1" u="sng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chemeClr val="tx1"/>
                  </a:solidFill>
                  <a:latin typeface="나눔고딕"/>
                  <a:ea typeface="나눔고딕"/>
                  <a:cs typeface="Arial"/>
                </a:rPr>
                <a:t> </a:t>
              </a:r>
              <a:endParaRPr kumimoji="0" lang="en-US" altLang="ko-KR" sz="1050" b="1" i="0" u="sng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chemeClr val="tx1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endParaRPr>
            </a:p>
          </p:txBody>
        </p:sp>
      </p:grpSp>
      <p:graphicFrame>
        <p:nvGraphicFramePr>
          <p:cNvPr id="7" name="차트 6">
            <a:extLst>
              <a:ext uri="{FF2B5EF4-FFF2-40B4-BE49-F238E27FC236}">
                <a16:creationId xmlns:a16="http://schemas.microsoft.com/office/drawing/2014/main" id="{0419ABCD-C78E-6CC7-BB4F-DC309DC39BF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26651332"/>
              </p:ext>
            </p:extLst>
          </p:nvPr>
        </p:nvGraphicFramePr>
        <p:xfrm>
          <a:off x="6984379" y="1030406"/>
          <a:ext cx="2359459" cy="24377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id="{D0DC2A09-823D-4457-1870-2EE9988B6E9D}"/>
              </a:ext>
            </a:extLst>
          </p:cNvPr>
          <p:cNvSpPr txBox="1"/>
          <p:nvPr/>
        </p:nvSpPr>
        <p:spPr>
          <a:xfrm>
            <a:off x="7587176" y="2313484"/>
            <a:ext cx="54156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800" b="1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(36%)</a:t>
            </a:r>
            <a:endParaRPr lang="ko-KR" altLang="en-US" sz="800" b="1">
              <a:solidFill>
                <a:srgbClr val="FF00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2609063-CD80-624B-B3BC-D3EBFE2EA434}"/>
              </a:ext>
            </a:extLst>
          </p:cNvPr>
          <p:cNvSpPr txBox="1"/>
          <p:nvPr/>
        </p:nvSpPr>
        <p:spPr>
          <a:xfrm>
            <a:off x="8628389" y="2081644"/>
            <a:ext cx="55441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800" b="1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(47%)</a:t>
            </a:r>
            <a:endParaRPr lang="ko-KR" altLang="en-US" sz="800" b="1">
              <a:solidFill>
                <a:srgbClr val="FF00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F5AB12F-E78A-33FF-166C-72BACC2F2C2D}"/>
              </a:ext>
            </a:extLst>
          </p:cNvPr>
          <p:cNvSpPr txBox="1"/>
          <p:nvPr/>
        </p:nvSpPr>
        <p:spPr>
          <a:xfrm>
            <a:off x="8556067" y="1256752"/>
            <a:ext cx="86365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800">
                <a:latin typeface="나눔고딕" panose="020D0604000000000000" pitchFamily="50" charset="-127"/>
                <a:ea typeface="나눔고딕" panose="020D0604000000000000" pitchFamily="50" charset="-127"/>
              </a:rPr>
              <a:t>(</a:t>
            </a:r>
            <a:r>
              <a:rPr lang="ko-KR" altLang="en-US" sz="800">
                <a:latin typeface="나눔고딕" panose="020D0604000000000000" pitchFamily="50" charset="-127"/>
                <a:ea typeface="나눔고딕" panose="020D0604000000000000" pitchFamily="50" charset="-127"/>
              </a:rPr>
              <a:t>단위</a:t>
            </a:r>
            <a:r>
              <a:rPr lang="en-US" altLang="ko-KR" sz="800">
                <a:latin typeface="나눔고딕" panose="020D0604000000000000" pitchFamily="50" charset="-127"/>
                <a:ea typeface="나눔고딕" panose="020D0604000000000000" pitchFamily="50" charset="-127"/>
              </a:rPr>
              <a:t>: </a:t>
            </a:r>
            <a:r>
              <a:rPr lang="ko-KR" altLang="en-US" sz="800">
                <a:latin typeface="나눔고딕" panose="020D0604000000000000" pitchFamily="50" charset="-127"/>
                <a:ea typeface="나눔고딕" panose="020D0604000000000000" pitchFamily="50" charset="-127"/>
              </a:rPr>
              <a:t>천</a:t>
            </a:r>
            <a:r>
              <a:rPr lang="en-US" altLang="ko-KR" sz="800" err="1">
                <a:latin typeface="나눔고딕" panose="020D0604000000000000" pitchFamily="50" charset="-127"/>
                <a:ea typeface="나눔고딕" panose="020D0604000000000000" pitchFamily="50" charset="-127"/>
              </a:rPr>
              <a:t>Gcal</a:t>
            </a:r>
            <a:r>
              <a:rPr lang="en-US" altLang="ko-KR" sz="800"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  <a:endParaRPr lang="ko-KR" altLang="en-US" sz="80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D6F9994-ED34-09F9-B4F1-234791A01080}"/>
              </a:ext>
            </a:extLst>
          </p:cNvPr>
          <p:cNvSpPr txBox="1"/>
          <p:nvPr/>
        </p:nvSpPr>
        <p:spPr>
          <a:xfrm>
            <a:off x="7336999" y="442946"/>
            <a:ext cx="2006839" cy="492443"/>
          </a:xfrm>
          <a:prstGeom prst="rect">
            <a:avLst/>
          </a:prstGeom>
          <a:solidFill>
            <a:srgbClr val="FFFEE6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wrap="square" lIns="36000" tIns="0" rIns="0" bIns="0" rtlCol="0" anchor="ctr">
            <a:spAutoFit/>
          </a:bodyPr>
          <a:lstStyle/>
          <a:p>
            <a:pPr defTabSz="304800"/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`21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년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: 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대형 </a:t>
            </a:r>
            <a:r>
              <a:rPr lang="ko-KR" altLang="en-US" sz="800" err="1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수열처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공급 시작 시점</a:t>
            </a:r>
            <a:b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</a:b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	(SKIPC, 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인천연료전지 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sym typeface="Wingdings" panose="05000000000000000000" pitchFamily="2" charset="2"/>
              </a:rPr>
              <a:t>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시운전 물량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</a:p>
          <a:p>
            <a:pPr defTabSz="623888">
              <a:tabLst>
                <a:tab pos="298450" algn="l"/>
              </a:tabLst>
            </a:pP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`24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년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: 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대형 </a:t>
            </a:r>
            <a:r>
              <a:rPr lang="ko-KR" altLang="en-US" sz="800" err="1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수열처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공급 본격화 및 </a:t>
            </a:r>
            <a:b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</a:b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	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도시가스 연료전지 물량 포함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CD6F9994-ED34-09F9-B4F1-234791A01080}"/>
              </a:ext>
            </a:extLst>
          </p:cNvPr>
          <p:cNvSpPr txBox="1"/>
          <p:nvPr/>
        </p:nvSpPr>
        <p:spPr>
          <a:xfrm>
            <a:off x="6176865" y="4312846"/>
            <a:ext cx="2006839" cy="180246"/>
          </a:xfrm>
          <a:prstGeom prst="rect">
            <a:avLst/>
          </a:prstGeom>
          <a:solidFill>
            <a:srgbClr val="FFFEE6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wrap="square" lIns="36000" tIns="0" rIns="0" bIns="0" rtlCol="0" anchor="ctr">
            <a:spAutoFit/>
          </a:bodyPr>
          <a:lstStyle/>
          <a:p>
            <a:pPr defTabSz="304800"/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증자시점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: `26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년 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1,738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억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9DDE02C-B6E4-FC9F-D79C-C29CC5A8DE58}"/>
              </a:ext>
            </a:extLst>
          </p:cNvPr>
          <p:cNvSpPr txBox="1"/>
          <p:nvPr/>
        </p:nvSpPr>
        <p:spPr>
          <a:xfrm>
            <a:off x="4100919" y="1125522"/>
            <a:ext cx="2211347" cy="369332"/>
          </a:xfrm>
          <a:prstGeom prst="rect">
            <a:avLst/>
          </a:prstGeom>
          <a:solidFill>
            <a:srgbClr val="FFFEE6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wrap="square" lIns="36000" tIns="0" rIns="0" bIns="0" rtlCol="0" anchor="ctr">
            <a:spAutoFit/>
          </a:bodyPr>
          <a:lstStyle>
            <a:defPPr>
              <a:defRPr lang="ko-KR"/>
            </a:defPPr>
            <a:lvl1pPr defTabSz="304800">
              <a:defRPr kumimoji="0" sz="800" b="0" i="0" u="none" strike="noStrike" cap="none" spc="0" normalizeH="0" baseline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defRPr>
            </a:lvl1pPr>
          </a:lstStyle>
          <a:p>
            <a:r>
              <a:rPr lang="ko-KR" altLang="en-US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송도 소각장</a:t>
            </a:r>
            <a:r>
              <a:rPr lang="en-US" altLang="ko-KR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(3</a:t>
            </a:r>
            <a:r>
              <a:rPr lang="ko-KR" altLang="en-US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호기</a:t>
            </a:r>
            <a:r>
              <a:rPr lang="en-US" altLang="ko-KR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)</a:t>
            </a:r>
            <a:r>
              <a:rPr lang="ko-KR" altLang="en-US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</a:t>
            </a:r>
            <a:r>
              <a:rPr lang="en-US" altLang="ko-KR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20G/h</a:t>
            </a:r>
          </a:p>
          <a:p>
            <a:r>
              <a:rPr lang="ko-KR" altLang="ko-KR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기타 소각장</a:t>
            </a:r>
            <a:r>
              <a:rPr lang="en-US" altLang="ko-KR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​</a:t>
            </a:r>
          </a:p>
          <a:p>
            <a:r>
              <a:rPr lang="ko-KR" altLang="ko-KR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 - 중구/동구 소각장: </a:t>
            </a:r>
            <a:r>
              <a:rPr lang="ko-KR" altLang="ko-KR" err="1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입지선정전</a:t>
            </a:r>
            <a:r>
              <a:rPr lang="ko-KR" altLang="ko-KR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단계(영종도 후보)</a:t>
            </a:r>
            <a:endParaRPr lang="en-US" altLang="ko-KR">
              <a:solidFill>
                <a:schemeClr val="tx1">
                  <a:lumMod val="50000"/>
                  <a:lumOff val="50000"/>
                </a:schemeClr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F4C1D2D-1533-D31A-B514-E71DEB8FEB50}"/>
              </a:ext>
            </a:extLst>
          </p:cNvPr>
          <p:cNvSpPr txBox="1"/>
          <p:nvPr/>
        </p:nvSpPr>
        <p:spPr>
          <a:xfrm>
            <a:off x="4100918" y="846870"/>
            <a:ext cx="2006839" cy="246221"/>
          </a:xfrm>
          <a:prstGeom prst="rect">
            <a:avLst/>
          </a:prstGeom>
          <a:solidFill>
            <a:srgbClr val="FFFEE6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wrap="square" lIns="36000" tIns="0" rIns="0" bIns="0" rtlCol="0" anchor="ctr">
            <a:spAutoFit/>
          </a:bodyPr>
          <a:lstStyle>
            <a:defPPr>
              <a:defRPr lang="ko-KR"/>
            </a:defPPr>
            <a:lvl1pPr defTabSz="304800">
              <a:defRPr kumimoji="0" sz="800" b="1" i="0" u="none" strike="noStrike" cap="none" spc="0" normalizeH="0" baseline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defRPr>
            </a:lvl1pPr>
          </a:lstStyle>
          <a:p>
            <a:r>
              <a:rPr lang="ko-KR" altLang="en-US" b="0" err="1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쌍용건설</a:t>
            </a:r>
            <a:r>
              <a:rPr lang="ko-KR" altLang="en-US" b="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연료전지 </a:t>
            </a:r>
            <a:r>
              <a:rPr lang="en-US" altLang="ko-KR" b="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6G/h</a:t>
            </a:r>
          </a:p>
          <a:p>
            <a:r>
              <a:rPr lang="ko-KR" altLang="en-US" b="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드림라인 연료전지 </a:t>
            </a:r>
            <a:r>
              <a:rPr lang="en-US" altLang="ko-KR" b="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6G/h</a:t>
            </a:r>
          </a:p>
        </p:txBody>
      </p:sp>
    </p:spTree>
    <p:extLst>
      <p:ext uri="{BB962C8B-B14F-4D97-AF65-F5344CB8AC3E}">
        <p14:creationId xmlns:p14="http://schemas.microsoft.com/office/powerpoint/2010/main" val="38721151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0"/>
  <p:tag name="MMCOA_FONTSIZE_S" val="14"/>
  <p:tag name="MMCOA_FONTSIZE_T" val="14"/>
  <p:tag name="MMCOA_POSITION_L" val="35.875;100.625;392.75;684"/>
  <p:tag name="MMCOA_POSITION_M" val="35.875;100.625;392.75;684"/>
  <p:tag name="MMCOA_POSITION_S" val="35.875;100.625;392.75;684"/>
  <p:tag name="MMCOA_POSITION_T" val="35.875;100.625;392.75;684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7"/>
  <p:tag name="MMCOA_FONTSIZE_M" val="7"/>
  <p:tag name="MMCOA_FONTSIZE_S" val="7"/>
  <p:tag name="MMCOA_FONTSIZE_T" val="7"/>
  <p:tag name="MMCOA_POSITION_L" val="37.625;514.5;8;228.125"/>
  <p:tag name="MMCOA_POSITION_M" val="37.625;514.5;8;228.125"/>
  <p:tag name="MMCOA_POSITION_S" val="37.625;514.5;8;228.125"/>
  <p:tag name="MMCOA_POSITION_T" val="37.625;514.5;8;228.125"/>
  <p:tag name="MMCOA_HIDEONCOLOUR" val="N"/>
  <p:tag name="MMCOA_HIDEONWHITE" val="N"/>
  <p:tag name="MMCOA_HIDEONBALLROOM" val="N"/>
  <p:tag name="MMCOA_HIDEONCLASSIC" val="Y"/>
  <p:tag name="MMCOA_HIDEONTEXT" val="Y"/>
  <p:tag name="MMCOA_HIDEONECO" val="Y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Y"/>
  <p:tag name="MMCOA_FONTSIZE_L" val="7"/>
  <p:tag name="MMCOA_FONTSIZE_M" val="7"/>
  <p:tag name="MMCOA_FONTSIZE_S" val="7"/>
  <p:tag name="MMCOA_FONTSIZE_T" val="7"/>
  <p:tag name="MMCOA_POSITION_L" val="335.625;514.5;8.375;85"/>
  <p:tag name="MMCOA_POSITION_M" val="335.625;514.5;8.375;85"/>
  <p:tag name="MMCOA_POSITION_S" val="335.625;514.5;8.375;85"/>
  <p:tag name="MMCOA_POSITION_T" val="335.625;514.5;8.375;85"/>
  <p:tag name="MMCOA_HIDEONCOLOUR" val="N"/>
  <p:tag name="MMCOA_HIDEONWHITE" val="N"/>
  <p:tag name="MMCOA_HIDEONBALLROOM" val="Y"/>
  <p:tag name="MMCOA_HIDEONCLASSIC" val="Y"/>
  <p:tag name="MMCOA_HIDEONTEXT" val="Y"/>
  <p:tag name="MMCOA_HIDEONECO" val="Y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기본 디자인">
  <a:themeElements>
    <a:clrScheme name="기본 디자인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기본 디자인">
      <a:majorFont>
        <a:latin typeface="Tahoma"/>
        <a:ea typeface="HY헤드라인M"/>
        <a:cs typeface=""/>
      </a:majorFont>
      <a:minorFont>
        <a:latin typeface="Tahoma"/>
        <a:ea typeface="HY헤드라인M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E7FF"/>
        </a:solidFill>
        <a:ln w="9525">
          <a:solidFill>
            <a:schemeClr val="bg1">
              <a:lumMod val="85000"/>
            </a:schemeClr>
          </a:solidFill>
        </a:ln>
      </a:spPr>
      <a:bodyPr lIns="36000" tIns="0" rIns="36000" bIns="0" rtlCol="0" anchor="ctr"/>
      <a:lstStyle>
        <a:defPPr>
          <a:defRPr sz="900" dirty="0" smtClean="0">
            <a:solidFill>
              <a:schemeClr val="tx1"/>
            </a:solidFill>
            <a:latin typeface="맑은 고딕" pitchFamily="50" charset="-127"/>
            <a:ea typeface="맑은 고딕" pitchFamily="50" charset="-127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sz="1600" b="1" dirty="0" smtClean="0">
            <a:solidFill>
              <a:srgbClr val="FF0000"/>
            </a:solidFill>
            <a:latin typeface="맑은 고딕" pitchFamily="50" charset="-127"/>
            <a:ea typeface="맑은 고딕" pitchFamily="50" charset="-127"/>
          </a:defRPr>
        </a:defPPr>
      </a:lstStyle>
    </a:txDef>
  </a:objectDefaults>
  <a:extraClrSchemeLst>
    <a:extraClrScheme>
      <a:clrScheme name="기본 디자인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3_기본 디자인">
  <a:themeElements>
    <a:clrScheme name="기본 디자인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기본 디자인">
      <a:majorFont>
        <a:latin typeface="Tahoma"/>
        <a:ea typeface="HY헤드라인M"/>
        <a:cs typeface=""/>
      </a:majorFont>
      <a:minorFont>
        <a:latin typeface="Tahoma"/>
        <a:ea typeface="HY헤드라인M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E7FF"/>
        </a:solidFill>
        <a:ln w="9525">
          <a:solidFill>
            <a:schemeClr val="bg1">
              <a:lumMod val="85000"/>
            </a:schemeClr>
          </a:solidFill>
        </a:ln>
      </a:spPr>
      <a:bodyPr lIns="36000" tIns="0" rIns="36000" bIns="0" rtlCol="0" anchor="ctr"/>
      <a:lstStyle>
        <a:defPPr>
          <a:defRPr sz="900" dirty="0" smtClean="0">
            <a:solidFill>
              <a:schemeClr val="tx1"/>
            </a:solidFill>
            <a:latin typeface="맑은 고딕" pitchFamily="50" charset="-127"/>
            <a:ea typeface="맑은 고딕" pitchFamily="50" charset="-127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sz="1600" b="1" dirty="0" smtClean="0">
            <a:solidFill>
              <a:srgbClr val="FF0000"/>
            </a:solidFill>
            <a:latin typeface="맑은 고딕" pitchFamily="50" charset="-127"/>
            <a:ea typeface="맑은 고딕" pitchFamily="50" charset="-127"/>
          </a:defRPr>
        </a:defPPr>
      </a:lstStyle>
    </a:txDef>
  </a:objectDefaults>
  <a:extraClrSchemeLst>
    <a:extraClrScheme>
      <a:clrScheme name="기본 디자인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SS">
  <a:themeElements>
    <a:clrScheme name="사용자 지정 1">
      <a:dk1>
        <a:srgbClr val="000000"/>
      </a:dk1>
      <a:lt1>
        <a:srgbClr val="FFFFFF"/>
      </a:lt1>
      <a:dk2>
        <a:srgbClr val="002C77"/>
      </a:dk2>
      <a:lt2>
        <a:srgbClr val="FFFFFF"/>
      </a:lt2>
      <a:accent1>
        <a:srgbClr val="008AB3"/>
      </a:accent1>
      <a:accent2>
        <a:srgbClr val="9DE0ED"/>
      </a:accent2>
      <a:accent3>
        <a:srgbClr val="606060"/>
      </a:accent3>
      <a:accent4>
        <a:srgbClr val="BFBFBF"/>
      </a:accent4>
      <a:accent5>
        <a:srgbClr val="E29815"/>
      </a:accent5>
      <a:accent6>
        <a:srgbClr val="FFCF89"/>
      </a:accent6>
      <a:hlink>
        <a:srgbClr val="5B5B5B"/>
      </a:hlink>
      <a:folHlink>
        <a:srgbClr val="BFBFBF"/>
      </a:folHlink>
    </a:clrScheme>
    <a:fontScheme name="Oliver Wyman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liver Wyman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 rotWithShape="1">
          <a:gsLst>
            <a:gs pos="0">
              <a:schemeClr val="phClr">
                <a:tint val="100000"/>
                <a:shade val="60000"/>
                <a:satMod val="300000"/>
              </a:schemeClr>
            </a:gs>
            <a:gs pos="30000">
              <a:schemeClr val="phClr">
                <a:shade val="80000"/>
                <a:satMod val="230000"/>
              </a:schemeClr>
            </a:gs>
            <a:gs pos="100000">
              <a:schemeClr val="phClr">
                <a:tint val="97000"/>
                <a:shade val="100000"/>
                <a:satMod val="220000"/>
              </a:schemeClr>
            </a:gs>
          </a:gsLst>
          <a:lin ang="162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3"/>
          </a:solidFill>
        </a:ln>
      </a:spPr>
      <a:bodyPr rtlCol="0" anchor="ctr"/>
      <a:lstStyle>
        <a:defPPr algn="ctr">
          <a:lnSpc>
            <a:spcPct val="100000"/>
          </a:lnSpc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lnSpc>
            <a:spcPct val="100000"/>
          </a:lnSpc>
          <a:defRPr dirty="0" err="1" smtClean="0"/>
        </a:defPPr>
      </a:lstStyle>
    </a:txDef>
  </a:objectDefaults>
  <a:extraClrSchemeLst/>
  <a:custClrLst>
    <a:custClr name="OW Emerald">
      <a:srgbClr val="41A441"/>
    </a:custClr>
    <a:custClr name="Light Emerald">
      <a:srgbClr val="BDDDA3"/>
    </a:custClr>
    <a:custClr name="OW Iolite">
      <a:srgbClr val="646EAC"/>
    </a:custClr>
    <a:custClr name="Light Iolite">
      <a:srgbClr val="C5CAE7"/>
    </a:custClr>
    <a:custClr name="OW Citrine">
      <a:srgbClr val="DD712C"/>
    </a:custClr>
    <a:custClr name="Light Citrine">
      <a:srgbClr val="FDCFAC"/>
    </a:custClr>
    <a:custClr name="OW Turquoise">
      <a:srgbClr val="079B84"/>
    </a:custClr>
    <a:custClr name="Light Turquoise">
      <a:srgbClr val="A8DAC9"/>
    </a:custClr>
    <a:custClr name="OW Ruby">
      <a:srgbClr val="CB225B"/>
    </a:custClr>
    <a:custClr name="Light Ruby">
      <a:srgbClr val="F8B8BC"/>
    </a:custClr>
  </a:custClrLst>
</a:theme>
</file>

<file path=ppt/theme/theme4.xml><?xml version="1.0" encoding="utf-8"?>
<a:theme xmlns:a="http://schemas.openxmlformats.org/drawingml/2006/main" name="0_전략기획실_서식">
  <a:themeElements>
    <a:clrScheme name="디자인 사용자 지정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디자인 사용자 지정">
      <a:majorFont>
        <a:latin typeface="Arial Black"/>
        <a:ea typeface="휴먼둥근헤드라인"/>
        <a:cs typeface=""/>
      </a:majorFont>
      <a:minorFont>
        <a:latin typeface="Arial"/>
        <a:ea typeface="굴림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00"/>
        </a:solidFill>
        <a:ln w="9525" cap="flat" cmpd="sng" algn="ctr">
          <a:solidFill>
            <a:schemeClr val="bg1">
              <a:lumMod val="50000"/>
            </a:schemeClr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72000" tIns="36000" rIns="72000" bIns="3600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1" i="0" u="none" strike="noStrike" cap="none" normalizeH="0" baseline="0" smtClean="0">
            <a:ln>
              <a:noFill/>
            </a:ln>
            <a:solidFill>
              <a:srgbClr val="FF0000"/>
            </a:solidFill>
            <a:effectLst/>
            <a:latin typeface="맑은 고딕" panose="020B0503020000020004" pitchFamily="50" charset="-127"/>
            <a:ea typeface="맑은 고딕" panose="020B0503020000020004" pitchFamily="50" charset="-127"/>
          </a:defRPr>
        </a:defPPr>
      </a:lstStyle>
    </a:spDef>
    <a:lnDef>
      <a:spPr bwMode="auto"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>
          <a:defRPr sz="1000" b="1" smtClean="0">
            <a:latin typeface="맑은 고딕" panose="020B0503020000020004" pitchFamily="50" charset="-127"/>
            <a:ea typeface="맑은 고딕" panose="020B0503020000020004" pitchFamily="50" charset="-127"/>
          </a:defRPr>
        </a:defPPr>
      </a:lstStyle>
    </a:txDef>
  </a:objectDefaults>
  <a:extraClrSchemeLst>
    <a:extraClrScheme>
      <a:clrScheme name="디자인 사용자 지정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디자인 사용자 지정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디자인 사용자 지정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디자인 사용자 지정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디자인 사용자 지정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디자인 사용자 지정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문서" ma:contentTypeID="0x01010011ADAC136B29F444AA5698056453CA0B" ma:contentTypeVersion="9" ma:contentTypeDescription="새 문서를 만듭니다." ma:contentTypeScope="" ma:versionID="9309d02ca83f8e01efa5c8f08bf8e347">
  <xsd:schema xmlns:xsd="http://www.w3.org/2001/XMLSchema" xmlns:xs="http://www.w3.org/2001/XMLSchema" xmlns:p="http://schemas.microsoft.com/office/2006/metadata/properties" xmlns:ns2="3f7dfad6-22e3-457f-a69c-c119f0c0187a" xmlns:ns3="aeead22d-ce5d-4b35-9e3b-a2f4a8d7da34" targetNamespace="http://schemas.microsoft.com/office/2006/metadata/properties" ma:root="true" ma:fieldsID="34373261172b8be22a5fa3b855ad9689" ns2:_="" ns3:_="">
    <xsd:import namespace="3f7dfad6-22e3-457f-a69c-c119f0c0187a"/>
    <xsd:import namespace="aeead22d-ce5d-4b35-9e3b-a2f4a8d7da3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f7dfad6-22e3-457f-a69c-c119f0c0187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2" nillable="true" ma:taxonomy="true" ma:internalName="lcf76f155ced4ddcb4097134ff3c332f" ma:taxonomyFieldName="MediaServiceImageTags" ma:displayName="이미지 태그" ma:readOnly="false" ma:fieldId="{5cf76f15-5ced-4ddc-b409-7134ff3c332f}" ma:taxonomyMulti="true" ma:sspId="4fa7ea9a-cfac-4c98-8919-1072f07f867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eead22d-ce5d-4b35-9e3b-a2f4a8d7da34" elementFormDefault="qualified">
    <xsd:import namespace="http://schemas.microsoft.com/office/2006/documentManagement/types"/>
    <xsd:import namespace="http://schemas.microsoft.com/office/infopath/2007/PartnerControls"/>
    <xsd:element name="TaxCatchAll" ma:index="13" nillable="true" ma:displayName="Taxonomy Catch All Column" ma:hidden="true" ma:list="{a29cb6e6-47b0-4940-9295-4e89ad1faebf}" ma:internalName="TaxCatchAll" ma:showField="CatchAllData" ma:web="aeead22d-ce5d-4b35-9e3b-a2f4a8d7da3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콘텐츠 형식"/>
        <xsd:element ref="dc:title" minOccurs="0" maxOccurs="1" ma:index="4" ma:displayName="제목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3f7dfad6-22e3-457f-a69c-c119f0c0187a">
      <Terms xmlns="http://schemas.microsoft.com/office/infopath/2007/PartnerControls"/>
    </lcf76f155ced4ddcb4097134ff3c332f>
    <TaxCatchAll xmlns="aeead22d-ce5d-4b35-9e3b-a2f4a8d7da34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1192CCC-D5FF-4B2E-9DE1-ED19BA507D82}">
  <ds:schemaRefs>
    <ds:schemaRef ds:uri="3f7dfad6-22e3-457f-a69c-c119f0c0187a"/>
    <ds:schemaRef ds:uri="aeead22d-ce5d-4b35-9e3b-a2f4a8d7da3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9EF209FC-7170-4340-975D-D4DEDB1D0958}">
  <ds:schemaRefs>
    <ds:schemaRef ds:uri="3f7dfad6-22e3-457f-a69c-c119f0c0187a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aeead22d-ce5d-4b35-9e3b-a2f4a8d7da34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70C17759-0287-4720-82D8-8CF5BABDF7E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8</TotalTime>
  <Words>238</Words>
  <Application>Microsoft Office PowerPoint</Application>
  <PresentationFormat>A4 용지(210x297mm)</PresentationFormat>
  <Paragraphs>37</Paragraphs>
  <Slides>1</Slides>
  <Notes>1</Notes>
  <HiddenSlides>0</HiddenSlides>
  <MMClips>0</MMClips>
  <ScaleCrop>false</ScaleCrop>
  <HeadingPairs>
    <vt:vector size="8" baseType="variant">
      <vt:variant>
        <vt:lpstr>사용한 글꼴</vt:lpstr>
      </vt:variant>
      <vt:variant>
        <vt:i4>10</vt:i4>
      </vt:variant>
      <vt:variant>
        <vt:lpstr>테마</vt:lpstr>
      </vt:variant>
      <vt:variant>
        <vt:i4>4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1</vt:i4>
      </vt:variant>
    </vt:vector>
  </HeadingPairs>
  <TitlesOfParts>
    <vt:vector size="16" baseType="lpstr">
      <vt:lpstr>HY견고딕</vt:lpstr>
      <vt:lpstr>Noto Sans CJK KR Medium</vt:lpstr>
      <vt:lpstr>굴림</vt:lpstr>
      <vt:lpstr>나눔고딕</vt:lpstr>
      <vt:lpstr>맑은 고딕</vt:lpstr>
      <vt:lpstr>Arial</vt:lpstr>
      <vt:lpstr>Arial Black</vt:lpstr>
      <vt:lpstr>Tahoma</vt:lpstr>
      <vt:lpstr>Times New Roman</vt:lpstr>
      <vt:lpstr>Wingdings</vt:lpstr>
      <vt:lpstr>2_기본 디자인</vt:lpstr>
      <vt:lpstr>3_기본 디자인</vt:lpstr>
      <vt:lpstr>SS</vt:lpstr>
      <vt:lpstr>0_전략기획실_서식</vt:lpstr>
      <vt:lpstr>think-cell Slide</vt:lpstr>
      <vt:lpstr>PowerPoint 프레젠테이션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최희진/사원A/경영기획팀/INT</dc:creator>
  <cp:lastModifiedBy>김강열/매니저/경영기획팀/INT</cp:lastModifiedBy>
  <cp:revision>8</cp:revision>
  <cp:lastPrinted>2023-10-25T01:20:09Z</cp:lastPrinted>
  <dcterms:created xsi:type="dcterms:W3CDTF">2023-09-22T07:25:44Z</dcterms:created>
  <dcterms:modified xsi:type="dcterms:W3CDTF">2024-05-30T06:56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1ADAC136B29F444AA5698056453CA0B</vt:lpwstr>
  </property>
  <property fmtid="{D5CDD505-2E9C-101B-9397-08002B2CF9AE}" pid="3" name="MediaServiceImageTags">
    <vt:lpwstr/>
  </property>
</Properties>
</file>